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232" r:id="rId1"/>
  </p:sldMasterIdLst>
  <p:notesMasterIdLst>
    <p:notesMasterId r:id="rId11"/>
  </p:notesMasterIdLst>
  <p:handoutMasterIdLst>
    <p:handoutMasterId r:id="rId12"/>
  </p:handoutMasterIdLst>
  <p:sldIdLst>
    <p:sldId id="1107" r:id="rId2"/>
    <p:sldId id="1116" r:id="rId3"/>
    <p:sldId id="1108" r:id="rId4"/>
    <p:sldId id="1109" r:id="rId5"/>
    <p:sldId id="1110" r:id="rId6"/>
    <p:sldId id="1112" r:id="rId7"/>
    <p:sldId id="1113" r:id="rId8"/>
    <p:sldId id="1114" r:id="rId9"/>
    <p:sldId id="1115" r:id="rId10"/>
  </p:sldIdLst>
  <p:sldSz cx="9906000" cy="6858000" type="A4"/>
  <p:notesSz cx="6807200" cy="9939338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5pPr>
    <a:lvl6pPr marL="2286000" algn="l" defTabSz="914400" rtl="0" eaLnBrk="1" latinLnBrk="1" hangingPunct="1"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6pPr>
    <a:lvl7pPr marL="2743200" algn="l" defTabSz="914400" rtl="0" eaLnBrk="1" latinLnBrk="1" hangingPunct="1"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7pPr>
    <a:lvl8pPr marL="3200400" algn="l" defTabSz="914400" rtl="0" eaLnBrk="1" latinLnBrk="1" hangingPunct="1"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8pPr>
    <a:lvl9pPr marL="3657600" algn="l" defTabSz="914400" rtl="0" eaLnBrk="1" latinLnBrk="1" hangingPunct="1">
      <a:defRPr kumimoji="1" b="1" kern="1200">
        <a:solidFill>
          <a:schemeClr val="tx1"/>
        </a:solidFill>
        <a:latin typeface="돋움" pitchFamily="50" charset="-127"/>
        <a:ea typeface="돋움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006600"/>
    <a:srgbClr val="FF0000"/>
    <a:srgbClr val="808080"/>
    <a:srgbClr val="C5003D"/>
    <a:srgbClr val="5F5F5F"/>
    <a:srgbClr val="E0E0E0"/>
    <a:srgbClr val="CFCFCF"/>
    <a:srgbClr val="C7FF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16" autoAdjust="0"/>
    <p:restoredTop sz="71607" autoAdjust="0"/>
  </p:normalViewPr>
  <p:slideViewPr>
    <p:cSldViewPr snapToObjects="1">
      <p:cViewPr varScale="1">
        <p:scale>
          <a:sx n="80" d="100"/>
          <a:sy n="80" d="100"/>
        </p:scale>
        <p:origin x="108" y="984"/>
      </p:cViewPr>
      <p:guideLst>
        <p:guide orient="horz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-1878" y="-90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49C5C60C-F03E-4DBD-A213-62694AD56C2D}" type="datetimeFigureOut">
              <a:rPr lang="ko-KR" altLang="en-US"/>
              <a:pPr>
                <a:defRPr/>
              </a:pPr>
              <a:t>2020-09-1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 smtClean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F2FCBFBA-AFA0-4090-A6A7-9221564A49B3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0218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 smtClean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6E38C264-38C2-4874-8F6A-5F9015362AA5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318520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AAE2612E-32D4-4E86-B4EB-C764D86EB070}" type="slidenum">
              <a:rPr lang="en-US" altLang="ko-KR" smtClean="0"/>
              <a:pPr>
                <a:spcBef>
                  <a:spcPct val="0"/>
                </a:spcBef>
              </a:pPr>
              <a:t>1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569428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819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3BA12CE-BC3D-40C2-9CA9-B11C85437C3A}" type="slidenum">
              <a:rPr lang="en-US" altLang="ko-KR" smtClean="0"/>
              <a:pPr>
                <a:spcBef>
                  <a:spcPct val="0"/>
                </a:spcBef>
              </a:pPr>
              <a:t>3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755841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Suppression Ratio</a:t>
            </a:r>
            <a:r>
              <a:rPr lang="ko-KR" altLang="en-US" smtClean="0"/>
              <a:t>를 측정하기 위하여 가진</a:t>
            </a:r>
            <a:r>
              <a:rPr lang="en-US" altLang="ko-KR" smtClean="0"/>
              <a:t>(</a:t>
            </a:r>
            <a:r>
              <a:rPr lang="ko-KR" altLang="en-US" smtClean="0"/>
              <a:t>진동을 가하는</a:t>
            </a:r>
            <a:r>
              <a:rPr lang="en-US" altLang="ko-KR" smtClean="0"/>
              <a:t>)</a:t>
            </a:r>
            <a:r>
              <a:rPr lang="ko-KR" altLang="en-US" smtClean="0"/>
              <a:t>장비를 설계 및 개발하여 안산 시화공단에 위치한 업체에 의뢰하여 만들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일은 생산기술연구원과 함께 진행했고</a:t>
            </a:r>
            <a:r>
              <a:rPr lang="en-US" altLang="ko-KR" smtClean="0"/>
              <a:t>, </a:t>
            </a:r>
            <a:r>
              <a:rPr lang="ko-KR" altLang="en-US" smtClean="0"/>
              <a:t>입고 되기까지 측정을 위해 시화공단으로 오가며 측정을 했던 기억이 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러나 이 장비가 설계되고 개발되기 전까지는 단품 레벨의 가진 장비를 가지고 측정을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096219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H/W, S/W</a:t>
            </a:r>
            <a:r>
              <a:rPr lang="ko-KR" altLang="en-US" smtClean="0"/>
              <a:t>를 모두 개선하기 위해 </a:t>
            </a:r>
            <a:r>
              <a:rPr lang="en-US" altLang="ko-KR" smtClean="0"/>
              <a:t>MBB</a:t>
            </a:r>
            <a:r>
              <a:rPr lang="ko-KR" altLang="en-US" smtClean="0"/>
              <a:t>후보가 </a:t>
            </a:r>
            <a:r>
              <a:rPr lang="en-US" altLang="ko-KR" smtClean="0"/>
              <a:t>3</a:t>
            </a:r>
            <a:r>
              <a:rPr lang="ko-KR" altLang="en-US" smtClean="0"/>
              <a:t>명이 투입되었고</a:t>
            </a:r>
            <a:r>
              <a:rPr lang="en-US" altLang="ko-KR" smtClean="0"/>
              <a:t>, OIS</a:t>
            </a:r>
            <a:r>
              <a:rPr lang="ko-KR" altLang="en-US" smtClean="0"/>
              <a:t>의 </a:t>
            </a:r>
            <a:r>
              <a:rPr lang="en-US" altLang="ko-KR" smtClean="0"/>
              <a:t>HW</a:t>
            </a:r>
            <a:r>
              <a:rPr lang="ko-KR" altLang="en-US" smtClean="0"/>
              <a:t>부분을 총괄하여 혼자 담당하게 되었습니다</a:t>
            </a:r>
            <a:r>
              <a:rPr lang="en-US" altLang="ko-KR" smtClean="0"/>
              <a:t>. </a:t>
            </a:r>
            <a:r>
              <a:rPr lang="ko-KR" altLang="en-US" smtClean="0"/>
              <a:t>각 모델에서 향 별로 </a:t>
            </a:r>
            <a:r>
              <a:rPr lang="en-US" altLang="ko-KR" smtClean="0"/>
              <a:t>1</a:t>
            </a:r>
            <a:r>
              <a:rPr lang="ko-KR" altLang="en-US" smtClean="0"/>
              <a:t>인씩 선정되어</a:t>
            </a:r>
            <a:endParaRPr lang="en-US" altLang="ko-KR" smtClean="0"/>
          </a:p>
          <a:p>
            <a:r>
              <a:rPr lang="en-US" altLang="ko-KR" smtClean="0"/>
              <a:t>Co-work</a:t>
            </a:r>
            <a:r>
              <a:rPr lang="ko-KR" altLang="en-US" smtClean="0"/>
              <a:t>을 하며 진행할 팀원들도 구성했습니다</a:t>
            </a:r>
            <a:r>
              <a:rPr lang="en-US" altLang="ko-KR" smtClean="0"/>
              <a:t>. </a:t>
            </a:r>
            <a:r>
              <a:rPr lang="ko-KR" altLang="en-US" smtClean="0"/>
              <a:t> 선행상품연구소를 비롯 각 부서에서 카메라 담당하는 연구원들과 함께 정기적인 미팅을 갖고</a:t>
            </a:r>
            <a:r>
              <a:rPr lang="en-US" altLang="ko-KR" smtClean="0"/>
              <a:t>, </a:t>
            </a:r>
            <a:r>
              <a:rPr lang="ko-KR" altLang="en-US" smtClean="0"/>
              <a:t>연구원들에게도 </a:t>
            </a:r>
            <a:endParaRPr lang="en-US" altLang="ko-KR" smtClean="0"/>
          </a:p>
          <a:p>
            <a:r>
              <a:rPr lang="ko-KR" altLang="en-US" smtClean="0"/>
              <a:t>과제를 부여하여 개선활동을 하며 정보를 공유하기로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r>
              <a:rPr lang="ko-KR" altLang="en-US" smtClean="0"/>
              <a:t>자성체에 의한 성능 저하가 예상되어 이 부분을 개선하는 쪽으로 과제를 도출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22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BDCD8108-0C16-436A-AF00-1A959C844F19}" type="slidenum">
              <a:rPr lang="en-US" altLang="ko-KR" smtClean="0"/>
              <a:pPr>
                <a:spcBef>
                  <a:spcPct val="0"/>
                </a:spcBef>
              </a:pPr>
              <a:t>5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266535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개선이 되었다고 무작정 적용할 수는 없었습니다</a:t>
            </a:r>
            <a:r>
              <a:rPr lang="en-US" altLang="ko-KR" smtClean="0"/>
              <a:t>. Side effect</a:t>
            </a:r>
            <a:r>
              <a:rPr lang="ko-KR" altLang="en-US" smtClean="0"/>
              <a:t>를 무시할 수 없기 때문입니다</a:t>
            </a:r>
            <a:r>
              <a:rPr lang="en-US" altLang="ko-KR" smtClean="0"/>
              <a:t>. </a:t>
            </a:r>
            <a:r>
              <a:rPr lang="ko-KR" altLang="en-US" smtClean="0"/>
              <a:t>저희가 염려했던 것은 소모전류의 증가인데</a:t>
            </a:r>
            <a:r>
              <a:rPr lang="en-US" altLang="ko-KR" smtClean="0"/>
              <a:t>, </a:t>
            </a:r>
            <a:r>
              <a:rPr lang="ko-KR" altLang="en-US" smtClean="0"/>
              <a:t>이 또한 그렇게 많은 전류를 소모하지 않는다는 결과를 실험을 통해 알게되었습니다</a:t>
            </a:r>
            <a:r>
              <a:rPr lang="en-US" altLang="ko-KR" smtClean="0"/>
              <a:t>. IC</a:t>
            </a:r>
            <a:r>
              <a:rPr lang="ko-KR" altLang="en-US" smtClean="0"/>
              <a:t>업체에 이 조합으로 입고해 줄 것을 요청하였고</a:t>
            </a:r>
            <a:r>
              <a:rPr lang="en-US" altLang="ko-KR" smtClean="0"/>
              <a:t>, OIS </a:t>
            </a:r>
            <a:r>
              <a:rPr lang="ko-KR" altLang="en-US" smtClean="0"/>
              <a:t>성능을 상당히 개선할 수 있었습니다</a:t>
            </a:r>
            <a:r>
              <a:rPr lang="en-US" altLang="ko-KR" smtClean="0"/>
              <a:t>. </a:t>
            </a:r>
            <a:r>
              <a:rPr lang="ko-KR" altLang="en-US" smtClean="0"/>
              <a:t>당시</a:t>
            </a:r>
            <a:r>
              <a:rPr lang="en-US" altLang="ko-KR" smtClean="0"/>
              <a:t> 19.27dB</a:t>
            </a:r>
            <a:r>
              <a:rPr lang="ko-KR" altLang="en-US" smtClean="0"/>
              <a:t>의 보정성능은</a:t>
            </a:r>
            <a:r>
              <a:rPr lang="en-US" altLang="ko-KR" smtClean="0"/>
              <a:t> minimum</a:t>
            </a:r>
            <a:r>
              <a:rPr lang="ko-KR" altLang="en-US" smtClean="0"/>
              <a:t>값이었습니다</a:t>
            </a:r>
            <a:r>
              <a:rPr lang="en-US" altLang="ko-KR" smtClean="0"/>
              <a:t>. </a:t>
            </a:r>
            <a:r>
              <a:rPr lang="ko-KR" altLang="en-US" smtClean="0"/>
              <a:t>이보다 작은 수치는 나오지 않았다는 의미입니다</a:t>
            </a:r>
            <a:r>
              <a:rPr lang="en-US" altLang="ko-KR" smtClean="0"/>
              <a:t>. (</a:t>
            </a:r>
            <a:r>
              <a:rPr lang="ko-KR" altLang="en-US" smtClean="0"/>
              <a:t>목표가</a:t>
            </a:r>
            <a:r>
              <a:rPr lang="en-US" altLang="ko-KR" smtClean="0"/>
              <a:t> 17dB</a:t>
            </a:r>
            <a:r>
              <a:rPr lang="ko-KR" altLang="en-US" smtClean="0"/>
              <a:t>였음을 상기</a:t>
            </a:r>
            <a:r>
              <a:rPr lang="en-US" altLang="ko-KR" smtClean="0"/>
              <a:t>)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739058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개선이 되었다고 무작정 적용할 수는 없었습니다</a:t>
            </a:r>
            <a:r>
              <a:rPr lang="en-US" altLang="ko-KR" smtClean="0"/>
              <a:t>. Side effect</a:t>
            </a:r>
            <a:r>
              <a:rPr lang="ko-KR" altLang="en-US" smtClean="0"/>
              <a:t>를 무시할 수 없기 때문입니다</a:t>
            </a:r>
            <a:r>
              <a:rPr lang="en-US" altLang="ko-KR" smtClean="0"/>
              <a:t>. </a:t>
            </a:r>
            <a:r>
              <a:rPr lang="ko-KR" altLang="en-US" smtClean="0"/>
              <a:t>저희가 염려했던 것은 소모전류의 증가인데</a:t>
            </a:r>
            <a:r>
              <a:rPr lang="en-US" altLang="ko-KR" smtClean="0"/>
              <a:t>, </a:t>
            </a:r>
            <a:r>
              <a:rPr lang="ko-KR" altLang="en-US" smtClean="0"/>
              <a:t>이 또한 그렇게 많은 전류를 소모하지 않는다는 결과를 실험을 통해 알게되었습니다</a:t>
            </a:r>
            <a:r>
              <a:rPr lang="en-US" altLang="ko-KR" smtClean="0"/>
              <a:t>. IC</a:t>
            </a:r>
            <a:r>
              <a:rPr lang="ko-KR" altLang="en-US" smtClean="0"/>
              <a:t>업체에 이 조합으로 입고해 줄 것을 요청하였고</a:t>
            </a:r>
            <a:r>
              <a:rPr lang="en-US" altLang="ko-KR" smtClean="0"/>
              <a:t>, OIS </a:t>
            </a:r>
            <a:r>
              <a:rPr lang="ko-KR" altLang="en-US" smtClean="0"/>
              <a:t>성능을 상당히 개선할 수 있었습니다</a:t>
            </a:r>
            <a:r>
              <a:rPr lang="en-US" altLang="ko-KR" smtClean="0"/>
              <a:t>. </a:t>
            </a:r>
            <a:r>
              <a:rPr lang="ko-KR" altLang="en-US" smtClean="0"/>
              <a:t>당시</a:t>
            </a:r>
            <a:r>
              <a:rPr lang="en-US" altLang="ko-KR" smtClean="0"/>
              <a:t> 19.27dB</a:t>
            </a:r>
            <a:r>
              <a:rPr lang="ko-KR" altLang="en-US" smtClean="0"/>
              <a:t>의 보정성능은</a:t>
            </a:r>
            <a:r>
              <a:rPr lang="en-US" altLang="ko-KR" smtClean="0"/>
              <a:t> minimum</a:t>
            </a:r>
            <a:r>
              <a:rPr lang="ko-KR" altLang="en-US" smtClean="0"/>
              <a:t>값이었습니다</a:t>
            </a:r>
            <a:r>
              <a:rPr lang="en-US" altLang="ko-KR" smtClean="0"/>
              <a:t>. </a:t>
            </a:r>
            <a:r>
              <a:rPr lang="ko-KR" altLang="en-US" smtClean="0"/>
              <a:t>이보다 작은 수치는 나오지 않았다는 의미입니다</a:t>
            </a:r>
            <a:r>
              <a:rPr lang="en-US" altLang="ko-KR" smtClean="0"/>
              <a:t>. (</a:t>
            </a:r>
            <a:r>
              <a:rPr lang="ko-KR" altLang="en-US" smtClean="0"/>
              <a:t>목표가</a:t>
            </a:r>
            <a:r>
              <a:rPr lang="en-US" altLang="ko-KR" smtClean="0"/>
              <a:t> 17dB</a:t>
            </a:r>
            <a:r>
              <a:rPr lang="ko-KR" altLang="en-US" smtClean="0"/>
              <a:t>였음을 상기</a:t>
            </a:r>
            <a:r>
              <a:rPr lang="en-US" altLang="ko-KR" smtClean="0"/>
              <a:t>)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002228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당시의 결과 동영상을 제작해 보았습니다</a:t>
            </a:r>
            <a:r>
              <a:rPr lang="en-US" altLang="ko-KR" smtClean="0"/>
              <a:t>. </a:t>
            </a:r>
            <a:r>
              <a:rPr lang="ko-KR" altLang="en-US" smtClean="0"/>
              <a:t>보안 상 멀리 돌아다니며 촬영하지 못하고 연구소 옥상에서 찍었는데</a:t>
            </a:r>
            <a:r>
              <a:rPr lang="en-US" altLang="ko-KR" smtClean="0"/>
              <a:t>, </a:t>
            </a:r>
            <a:r>
              <a:rPr lang="ko-KR" altLang="en-US" smtClean="0"/>
              <a:t>양산 품은 이것보다 훨씬 뛰어난 성능을 보인다는 것을 이미 다 알고 계실 것입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ko-KR" altLang="en-US" smtClean="0"/>
              <a:t>또한 정성적으로는</a:t>
            </a:r>
            <a:r>
              <a:rPr lang="en-US" altLang="ko-KR" smtClean="0"/>
              <a:t> Camera</a:t>
            </a:r>
            <a:r>
              <a:rPr lang="ko-KR" altLang="en-US" smtClean="0"/>
              <a:t>관련 모든 보고 장표에</a:t>
            </a:r>
            <a:r>
              <a:rPr lang="en-US" altLang="ko-KR" smtClean="0"/>
              <a:t> OIS </a:t>
            </a:r>
            <a:r>
              <a:rPr lang="ko-KR" altLang="en-US" smtClean="0"/>
              <a:t>보정율 항목이 추가되었고</a:t>
            </a:r>
            <a:r>
              <a:rPr lang="en-US" altLang="ko-KR" smtClean="0"/>
              <a:t>, </a:t>
            </a:r>
            <a:r>
              <a:rPr lang="ko-KR" altLang="en-US" smtClean="0"/>
              <a:t>현 수준과 목표 수준을</a:t>
            </a:r>
            <a:r>
              <a:rPr lang="en-US" altLang="ko-KR" smtClean="0"/>
              <a:t> Z Value</a:t>
            </a:r>
            <a:r>
              <a:rPr lang="ko-KR" altLang="en-US" smtClean="0"/>
              <a:t>로 표현하게 되었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en-US" altLang="ko-KR" smtClean="0"/>
              <a:t>OIS Suppression(</a:t>
            </a:r>
            <a:r>
              <a:rPr lang="ko-KR" altLang="en-US" smtClean="0"/>
              <a:t>보정</a:t>
            </a:r>
            <a:r>
              <a:rPr lang="en-US" altLang="ko-KR" smtClean="0"/>
              <a:t>) Ratio spec</a:t>
            </a:r>
            <a:r>
              <a:rPr lang="ko-KR" altLang="en-US" smtClean="0"/>
              <a:t>도 평택 품질</a:t>
            </a:r>
            <a:r>
              <a:rPr lang="en-US" altLang="ko-KR" smtClean="0"/>
              <a:t> task </a:t>
            </a:r>
            <a:r>
              <a:rPr lang="ko-KR" altLang="en-US" smtClean="0"/>
              <a:t>멤버들과 함께 정하였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12725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당시의 결과 동영상을 제작해 보았습니다</a:t>
            </a:r>
            <a:r>
              <a:rPr lang="en-US" altLang="ko-KR" smtClean="0"/>
              <a:t>. </a:t>
            </a:r>
            <a:r>
              <a:rPr lang="ko-KR" altLang="en-US" smtClean="0"/>
              <a:t>보안 상 멀리 돌아다니며 촬영하지 못하고 연구소 옥상에서 찍었는데</a:t>
            </a:r>
            <a:r>
              <a:rPr lang="en-US" altLang="ko-KR" smtClean="0"/>
              <a:t>, </a:t>
            </a:r>
            <a:r>
              <a:rPr lang="ko-KR" altLang="en-US" smtClean="0"/>
              <a:t>양산 품은 이것보다 훨씬 뛰어난 성능을 보인다는 것을 이미 다 알고 계실 것입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ko-KR" altLang="en-US" smtClean="0"/>
              <a:t>또한 정성적으로는</a:t>
            </a:r>
            <a:r>
              <a:rPr lang="en-US" altLang="ko-KR" smtClean="0"/>
              <a:t> Camera</a:t>
            </a:r>
            <a:r>
              <a:rPr lang="ko-KR" altLang="en-US" smtClean="0"/>
              <a:t>관련 모든 보고 장표에</a:t>
            </a:r>
            <a:r>
              <a:rPr lang="en-US" altLang="ko-KR" smtClean="0"/>
              <a:t> OIS </a:t>
            </a:r>
            <a:r>
              <a:rPr lang="ko-KR" altLang="en-US" smtClean="0"/>
              <a:t>보정율 항목이 추가되었고</a:t>
            </a:r>
            <a:r>
              <a:rPr lang="en-US" altLang="ko-KR" smtClean="0"/>
              <a:t>, </a:t>
            </a:r>
            <a:r>
              <a:rPr lang="ko-KR" altLang="en-US" smtClean="0"/>
              <a:t>현 수준과 목표 수준을</a:t>
            </a:r>
            <a:r>
              <a:rPr lang="en-US" altLang="ko-KR" smtClean="0"/>
              <a:t> Z Value</a:t>
            </a:r>
            <a:r>
              <a:rPr lang="ko-KR" altLang="en-US" smtClean="0"/>
              <a:t>로 표현하게 되었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en-US" altLang="ko-KR" smtClean="0"/>
              <a:t>OIS Suppression(</a:t>
            </a:r>
            <a:r>
              <a:rPr lang="ko-KR" altLang="en-US" smtClean="0"/>
              <a:t>보정</a:t>
            </a:r>
            <a:r>
              <a:rPr lang="en-US" altLang="ko-KR" smtClean="0"/>
              <a:t>) Ratio spec</a:t>
            </a:r>
            <a:r>
              <a:rPr lang="ko-KR" altLang="en-US" smtClean="0"/>
              <a:t>도 평택 품질</a:t>
            </a:r>
            <a:r>
              <a:rPr lang="en-US" altLang="ko-KR" smtClean="0"/>
              <a:t> task </a:t>
            </a:r>
            <a:r>
              <a:rPr lang="ko-KR" altLang="en-US" smtClean="0"/>
              <a:t>멤버들과 함께 정하였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512084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4196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307777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49244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1221625F-8A83-46C3-8451-D10588DF59F9}" type="datetimeFigureOut">
              <a:rPr lang="ko-KR" altLang="en-US" smtClean="0"/>
              <a:t>2020-09-1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757C7-FC4F-4296-840D-B6028055E45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0959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6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200025" y="188913"/>
            <a:ext cx="4267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itle style</a:t>
            </a:r>
          </a:p>
        </p:txBody>
      </p:sp>
      <p:sp>
        <p:nvSpPr>
          <p:cNvPr id="1027" name="Rectangle 27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455613" y="1298576"/>
            <a:ext cx="9069387" cy="219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ext styles</a:t>
            </a:r>
          </a:p>
          <a:p>
            <a:pPr lvl="1"/>
            <a:r>
              <a:rPr lang="en-GB" altLang="ko-KR" smtClean="0"/>
              <a:t>Second level</a:t>
            </a:r>
          </a:p>
          <a:p>
            <a:pPr lvl="2"/>
            <a:r>
              <a:rPr lang="en-GB" altLang="ko-KR" smtClean="0"/>
              <a:t>Third level</a:t>
            </a:r>
          </a:p>
          <a:p>
            <a:pPr lvl="3"/>
            <a:r>
              <a:rPr lang="en-GB" altLang="ko-KR" smtClean="0"/>
              <a:t>Fourth level</a:t>
            </a:r>
          </a:p>
          <a:p>
            <a:pPr lvl="4"/>
            <a:r>
              <a:rPr lang="en-GB" altLang="ko-KR" smtClean="0"/>
              <a:t>Fifth level</a:t>
            </a:r>
          </a:p>
        </p:txBody>
      </p:sp>
      <p:grpSp>
        <p:nvGrpSpPr>
          <p:cNvPr id="1028" name="McK Slide Elements"/>
          <p:cNvGrpSpPr>
            <a:grpSpLocks/>
          </p:cNvGrpSpPr>
          <p:nvPr/>
        </p:nvGrpSpPr>
        <p:grpSpPr bwMode="auto">
          <a:xfrm>
            <a:off x="134939" y="542925"/>
            <a:ext cx="9526587" cy="6288088"/>
            <a:chOff x="77" y="335"/>
            <a:chExt cx="5429" cy="3882"/>
          </a:xfrm>
        </p:grpSpPr>
        <p:sp>
          <p:nvSpPr>
            <p:cNvPr id="103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700" b="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03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614363" indent="-614363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	*	Footnote</a:t>
              </a: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Source:		Source</a:t>
              </a:r>
            </a:p>
          </p:txBody>
        </p:sp>
      </p:grp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641850" y="6596063"/>
            <a:ext cx="596900" cy="2349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latinLnBrk="1" hangingPunct="1">
              <a:defRPr sz="1100" b="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90124423-1545-4D1B-9071-5F4D86DC909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3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4" r:id="rId1"/>
    <p:sldLayoutId id="214748665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rgbClr val="000000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rgbClr val="000000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290513" y="1439863"/>
            <a:ext cx="932497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3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충전기 내부 정전기 제거를 통한 </a:t>
            </a:r>
            <a:r>
              <a:rPr lang="en-US" altLang="ko-KR" sz="3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COA001 </a:t>
            </a:r>
            <a:r>
              <a:rPr lang="ko-KR" altLang="en-US" sz="3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생산성 </a:t>
            </a:r>
            <a:r>
              <a:rPr lang="en-US" altLang="ko-KR" sz="3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0% </a:t>
            </a:r>
            <a:r>
              <a:rPr lang="ko-KR" altLang="en-US" sz="3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증대</a:t>
            </a:r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4208463" y="5137150"/>
            <a:ext cx="14890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생명과학본부</a:t>
            </a:r>
            <a:endParaRPr lang="en-US" altLang="ko-KR" sz="180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GMP 6</a:t>
            </a: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시그마</a:t>
            </a:r>
          </a:p>
        </p:txBody>
      </p:sp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4478338" y="4575175"/>
            <a:ext cx="9493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020</a:t>
            </a: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년</a:t>
            </a:r>
          </a:p>
        </p:txBody>
      </p:sp>
    </p:spTree>
    <p:extLst>
      <p:ext uri="{BB962C8B-B14F-4D97-AF65-F5344CB8AC3E}">
        <p14:creationId xmlns:p14="http://schemas.microsoft.com/office/powerpoint/2010/main" val="257141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450273" y="836712"/>
            <a:ext cx="9005455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82563" indent="-182563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300"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pPr marL="0" indent="0">
              <a:buNone/>
            </a:pPr>
            <a:r>
              <a:rPr lang="ko-KR" altLang="en-US" sz="1400" b="0" u="sng" dirty="0" smtClean="0">
                <a:solidFill>
                  <a:prstClr val="black"/>
                </a:solidFill>
              </a:rPr>
              <a:t>과제 </a:t>
            </a:r>
            <a:r>
              <a:rPr lang="en-US" altLang="ko-KR" sz="1400" b="0" u="sng" dirty="0" smtClean="0">
                <a:solidFill>
                  <a:prstClr val="black"/>
                </a:solidFill>
              </a:rPr>
              <a:t>: </a:t>
            </a:r>
            <a:r>
              <a:rPr lang="ko-KR" altLang="en-US" sz="1400" b="0" u="sng" dirty="0" smtClean="0">
                <a:solidFill>
                  <a:prstClr val="black"/>
                </a:solidFill>
              </a:rPr>
              <a:t>충전기 내부 정전기 제거를 통한 </a:t>
            </a:r>
            <a:r>
              <a:rPr lang="en-US" altLang="ko-KR" sz="1400" b="0" u="sng" dirty="0" smtClean="0">
                <a:solidFill>
                  <a:prstClr val="black"/>
                </a:solidFill>
              </a:rPr>
              <a:t>COA001 </a:t>
            </a:r>
            <a:r>
              <a:rPr lang="ko-KR" altLang="en-US" sz="1400" b="0" u="sng" dirty="0" smtClean="0">
                <a:solidFill>
                  <a:prstClr val="black"/>
                </a:solidFill>
              </a:rPr>
              <a:t>생산성 </a:t>
            </a:r>
            <a:r>
              <a:rPr lang="en-US" altLang="ko-KR" sz="1400" b="0" u="sng" dirty="0" smtClean="0">
                <a:solidFill>
                  <a:prstClr val="black"/>
                </a:solidFill>
              </a:rPr>
              <a:t>20% </a:t>
            </a:r>
            <a:r>
              <a:rPr lang="ko-KR" altLang="en-US" sz="1400" b="0" u="sng" dirty="0" smtClean="0">
                <a:solidFill>
                  <a:prstClr val="black"/>
                </a:solidFill>
              </a:rPr>
              <a:t>증대</a:t>
            </a:r>
            <a:r>
              <a:rPr lang="en-US" altLang="ko-KR" sz="1400" b="0" u="sng" dirty="0" smtClean="0">
                <a:solidFill>
                  <a:prstClr val="black"/>
                </a:solidFill>
              </a:rPr>
              <a:t/>
            </a:r>
            <a:br>
              <a:rPr lang="en-US" altLang="ko-KR" sz="1400" b="0" u="sng" dirty="0" smtClean="0">
                <a:solidFill>
                  <a:prstClr val="black"/>
                </a:solidFill>
              </a:rPr>
            </a:br>
            <a:endParaRPr lang="en-US" altLang="ko-KR" sz="1400" b="0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r>
              <a:rPr lang="ko-KR" altLang="en-US" sz="1400" b="0" dirty="0" smtClean="0">
                <a:solidFill>
                  <a:prstClr val="black"/>
                </a:solidFill>
              </a:rPr>
              <a:t>제안자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 :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백재욱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책임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(CMC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센터 합성의약제형팀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)</a:t>
            </a:r>
          </a:p>
          <a:p>
            <a:pPr marL="0" indent="0">
              <a:buNone/>
            </a:pPr>
            <a:r>
              <a:rPr lang="ko-KR" altLang="en-US" sz="1400" b="0" dirty="0" smtClean="0">
                <a:solidFill>
                  <a:prstClr val="black"/>
                </a:solidFill>
              </a:rPr>
              <a:t>실행자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: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김영삼 반장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전창섭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계장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en-US" altLang="ko-KR" sz="1400" b="0" dirty="0" smtClean="0">
                <a:solidFill>
                  <a:prstClr val="black"/>
                </a:solidFill>
              </a:rPr>
              <a:t>             (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역할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: </a:t>
            </a:r>
            <a:r>
              <a:rPr lang="en-US" altLang="ko-KR" sz="1400" b="0" dirty="0">
                <a:solidFill>
                  <a:prstClr val="black"/>
                </a:solidFill>
              </a:rPr>
              <a:t>COA001 </a:t>
            </a:r>
            <a:r>
              <a:rPr lang="ko-KR" altLang="en-US" sz="1400" b="0" dirty="0">
                <a:solidFill>
                  <a:prstClr val="black"/>
                </a:solidFill>
              </a:rPr>
              <a:t>생산 전반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-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자재 세척 및 멸균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EM,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샘플 전달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감마 멸균 송부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GMP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로그북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작성 등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)</a:t>
            </a:r>
          </a:p>
          <a:p>
            <a:pPr marL="0" indent="0">
              <a:buNone/>
            </a:pPr>
            <a:r>
              <a:rPr lang="ko-KR" altLang="en-US" sz="1400" b="0" dirty="0" smtClean="0">
                <a:solidFill>
                  <a:prstClr val="black"/>
                </a:solidFill>
              </a:rPr>
              <a:t>경영성과금액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: 160</a:t>
            </a:r>
            <a:r>
              <a:rPr lang="ko-KR" altLang="en-US" sz="1400" b="0" dirty="0">
                <a:solidFill>
                  <a:prstClr val="black"/>
                </a:solidFill>
              </a:rPr>
              <a:t>만원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(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일용직 근무자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2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인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채용기간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6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일 단축</a:t>
            </a:r>
            <a:r>
              <a:rPr lang="en-US" altLang="ko-KR" sz="1400" b="0" dirty="0">
                <a:solidFill>
                  <a:prstClr val="black"/>
                </a:solidFill>
              </a:rPr>
              <a:t>)</a:t>
            </a:r>
          </a:p>
          <a:p>
            <a:pPr marL="0" indent="0">
              <a:buNone/>
            </a:pP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en-US" altLang="ko-KR" sz="1400" b="0" dirty="0" smtClean="0">
                <a:solidFill>
                  <a:srgbClr val="0000FF"/>
                </a:solidFill>
              </a:rPr>
              <a:t>3D </a:t>
            </a:r>
            <a:r>
              <a:rPr lang="ko-KR" altLang="en-US" sz="1400" b="0" dirty="0" smtClean="0">
                <a:solidFill>
                  <a:srgbClr val="0000FF"/>
                </a:solidFill>
              </a:rPr>
              <a:t>프린팅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을 현장 이슈에 적용한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익산공장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첫 번째 사례입니다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.</a:t>
            </a:r>
            <a:endParaRPr lang="en-US" altLang="ko-KR" sz="1400" b="0" dirty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US" altLang="ko-KR" sz="1400" b="0" dirty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sz="1400" b="0" dirty="0" smtClean="0">
                <a:solidFill>
                  <a:prstClr val="black"/>
                </a:solidFill>
              </a:rPr>
              <a:t>정전기 이슈 해결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ko-KR" altLang="en-US" sz="1400" b="0" dirty="0" err="1" smtClean="0">
                <a:solidFill>
                  <a:prstClr val="black"/>
                </a:solidFill>
              </a:rPr>
              <a:t>바이알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내부 정전기 제거를 위해 다양한 시도를 했으나 실패하고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</a:t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en-US" altLang="ko-KR" sz="1400" b="0" dirty="0" smtClean="0">
                <a:solidFill>
                  <a:srgbClr val="0000FF"/>
                </a:solidFill>
              </a:rPr>
              <a:t>ESD (</a:t>
            </a:r>
            <a:r>
              <a:rPr lang="ko-KR" altLang="en-US" sz="1400" b="0" dirty="0" smtClean="0">
                <a:solidFill>
                  <a:srgbClr val="0000FF"/>
                </a:solidFill>
              </a:rPr>
              <a:t>정전기 방전</a:t>
            </a:r>
            <a:r>
              <a:rPr lang="en-US" altLang="ko-KR" sz="1400" b="0" dirty="0" smtClean="0">
                <a:solidFill>
                  <a:srgbClr val="0000FF"/>
                </a:solidFill>
              </a:rPr>
              <a:t>, Electrostatic discharge) </a:t>
            </a:r>
            <a:r>
              <a:rPr lang="ko-KR" altLang="en-US" sz="1400" b="0" dirty="0" smtClean="0">
                <a:solidFill>
                  <a:srgbClr val="0000FF"/>
                </a:solidFill>
              </a:rPr>
              <a:t>필라멘트로 제작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한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Adapter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로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바이알을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감싸서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ko-KR" altLang="en-US" sz="1400" b="0" dirty="0" err="1" smtClean="0">
                <a:solidFill>
                  <a:prstClr val="black"/>
                </a:solidFill>
              </a:rPr>
              <a:t>바이알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내부 정전기를 제거했습니다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.</a:t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endParaRPr lang="en-US" altLang="ko-KR" sz="1400" b="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sz="1400" b="0" dirty="0" smtClean="0">
                <a:solidFill>
                  <a:prstClr val="black"/>
                </a:solidFill>
              </a:rPr>
              <a:t>인건비 절감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ko-KR" altLang="en-US" sz="1400" b="0" dirty="0" smtClean="0">
                <a:solidFill>
                  <a:prstClr val="black"/>
                </a:solidFill>
              </a:rPr>
              <a:t>충전 시간을 </a:t>
            </a:r>
            <a:r>
              <a:rPr lang="ko-KR" altLang="en-US" sz="1400" b="0" dirty="0" err="1" smtClean="0">
                <a:solidFill>
                  <a:prstClr val="black"/>
                </a:solidFill>
              </a:rPr>
              <a:t>바이알당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1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분에서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20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초로 단축하여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en-US" altLang="ko-KR" sz="1400" b="0" dirty="0" smtClean="0">
                <a:solidFill>
                  <a:prstClr val="black"/>
                </a:solidFill>
              </a:rPr>
              <a:t>20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일로 예정된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1b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상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, 2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상 두 배치의 생산 기간을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14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일로 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6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일 단축했습니다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.</a:t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endParaRPr lang="en-US" altLang="ko-KR" sz="1400" b="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sz="1400" b="0" dirty="0" smtClean="0">
                <a:solidFill>
                  <a:prstClr val="black"/>
                </a:solidFill>
              </a:rPr>
              <a:t>무균 리스크 제거</a:t>
            </a:r>
            <a:r>
              <a:rPr lang="en-US" altLang="ko-KR" sz="1400" b="0" dirty="0">
                <a:solidFill>
                  <a:prstClr val="black"/>
                </a:solidFill>
              </a:rPr>
              <a:t/>
            </a:r>
            <a:br>
              <a:rPr lang="en-US" altLang="ko-KR" sz="1400" b="0" dirty="0">
                <a:solidFill>
                  <a:prstClr val="black"/>
                </a:solidFill>
              </a:rPr>
            </a:br>
            <a:r>
              <a:rPr lang="en-US" altLang="ko-KR" sz="1400" b="0" dirty="0" smtClean="0">
                <a:solidFill>
                  <a:prstClr val="black"/>
                </a:solidFill>
              </a:rPr>
              <a:t>3D 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프린팅에 사용된 필라멘트가 무균 분말 충전에 영향을 줄 수 있어서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ko-KR" altLang="en-US" sz="1400" b="0" dirty="0" smtClean="0">
                <a:solidFill>
                  <a:srgbClr val="0000FF"/>
                </a:solidFill>
              </a:rPr>
              <a:t>표면을 </a:t>
            </a:r>
            <a:r>
              <a:rPr lang="en-US" altLang="ko-KR" sz="1400" b="0" dirty="0" smtClean="0">
                <a:solidFill>
                  <a:srgbClr val="0000FF"/>
                </a:solidFill>
              </a:rPr>
              <a:t>Grinder </a:t>
            </a:r>
            <a:r>
              <a:rPr lang="ko-KR" altLang="en-US" sz="1400" b="0" dirty="0" smtClean="0">
                <a:solidFill>
                  <a:srgbClr val="0000FF"/>
                </a:solidFill>
              </a:rPr>
              <a:t>로 매끄럽게 갈아서 </a:t>
            </a:r>
            <a:r>
              <a:rPr lang="en-US" altLang="ko-KR" sz="1400" b="0" dirty="0" smtClean="0">
                <a:solidFill>
                  <a:srgbClr val="0000FF"/>
                </a:solidFill>
              </a:rPr>
              <a:t>Leachate </a:t>
            </a:r>
            <a:r>
              <a:rPr lang="ko-KR" altLang="en-US" sz="1400" b="0" dirty="0" smtClean="0">
                <a:solidFill>
                  <a:srgbClr val="0000FF"/>
                </a:solidFill>
              </a:rPr>
              <a:t>이슈를 제거</a:t>
            </a:r>
            <a:r>
              <a:rPr lang="ko-KR" altLang="en-US" sz="1400" b="0" dirty="0" smtClean="0">
                <a:solidFill>
                  <a:prstClr val="black"/>
                </a:solidFill>
              </a:rPr>
              <a:t>했습니다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.</a:t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endParaRPr lang="en-US" altLang="ko-KR" sz="1400" b="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sz="1400" b="0" dirty="0" smtClean="0">
                <a:solidFill>
                  <a:prstClr val="black"/>
                </a:solidFill>
              </a:rPr>
              <a:t>개선 사례 확장</a:t>
            </a:r>
            <a:r>
              <a:rPr lang="en-US" altLang="ko-KR" sz="1400" b="0" dirty="0" smtClean="0">
                <a:solidFill>
                  <a:prstClr val="black"/>
                </a:solidFill>
              </a:rPr>
              <a:t/>
            </a:r>
            <a:br>
              <a:rPr lang="en-US" altLang="ko-KR" sz="1400" b="0" dirty="0" smtClean="0">
                <a:solidFill>
                  <a:prstClr val="black"/>
                </a:solidFill>
              </a:rPr>
            </a:br>
            <a:r>
              <a:rPr lang="ko-KR" altLang="en-US" sz="1400" b="0" dirty="0" smtClean="0">
                <a:solidFill>
                  <a:prstClr val="black"/>
                </a:solidFill>
              </a:rPr>
              <a:t>다른 설비의 정전기 발생 이슈에 해당 필라멘트 추가 적용 가능합니다</a:t>
            </a:r>
            <a:r>
              <a:rPr lang="en-US" altLang="ko-KR" sz="1400" b="0" dirty="0" smtClean="0">
                <a:solidFill>
                  <a:prstClr val="black"/>
                </a:solidFill>
              </a:rPr>
              <a:t>. </a:t>
            </a:r>
            <a:endParaRPr lang="en-US" altLang="ko-KR" sz="1400" b="0" dirty="0">
              <a:solidFill>
                <a:prstClr val="black"/>
              </a:solidFill>
            </a:endParaRPr>
          </a:p>
        </p:txBody>
      </p:sp>
      <p:sp>
        <p:nvSpPr>
          <p:cNvPr id="12" name="Text Box 22"/>
          <p:cNvSpPr txBox="1">
            <a:spLocks noChangeArrowheads="1"/>
          </p:cNvSpPr>
          <p:nvPr/>
        </p:nvSpPr>
        <p:spPr bwMode="auto">
          <a:xfrm>
            <a:off x="163960" y="112626"/>
            <a:ext cx="489705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ko-KR" sz="2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Recommendation</a:t>
            </a:r>
            <a:endParaRPr lang="ko-KR" altLang="en-US" sz="1400" b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15" name="직선 연결선 14"/>
          <p:cNvCxnSpPr/>
          <p:nvPr/>
        </p:nvCxnSpPr>
        <p:spPr>
          <a:xfrm>
            <a:off x="0" y="548680"/>
            <a:ext cx="9906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66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5700" y="3222856"/>
            <a:ext cx="1844886" cy="1036407"/>
          </a:xfrm>
          <a:prstGeom prst="rect">
            <a:avLst/>
          </a:prstGeom>
        </p:spPr>
      </p:pic>
      <p:pic>
        <p:nvPicPr>
          <p:cNvPr id="7170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663" y="3217863"/>
            <a:ext cx="1846262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414588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개선활동 추진 배경</a:t>
            </a:r>
          </a:p>
        </p:txBody>
      </p:sp>
      <p:sp>
        <p:nvSpPr>
          <p:cNvPr id="7172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7173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말 충전기</a:t>
            </a:r>
            <a:r>
              <a:rPr lang="en-US" altLang="ko-KR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Quantos Autosampler) </a:t>
            </a: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내부 정전기로 인해 충전이 지체됨</a:t>
            </a:r>
            <a:endParaRPr lang="en-US" altLang="ko-KR" sz="16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7174" name="그룹 11"/>
          <p:cNvGrpSpPr>
            <a:grpSpLocks/>
          </p:cNvGrpSpPr>
          <p:nvPr/>
        </p:nvGrpSpPr>
        <p:grpSpPr bwMode="auto">
          <a:xfrm>
            <a:off x="7847013" y="142875"/>
            <a:ext cx="1714500" cy="307975"/>
            <a:chOff x="6454149" y="67707"/>
            <a:chExt cx="2593033" cy="335993"/>
          </a:xfrm>
        </p:grpSpPr>
        <p:sp>
          <p:nvSpPr>
            <p:cNvPr id="7199" name="AutoShape 4"/>
            <p:cNvSpPr>
              <a:spLocks noChangeArrowheads="1"/>
            </p:cNvSpPr>
            <p:nvPr/>
          </p:nvSpPr>
          <p:spPr bwMode="auto">
            <a:xfrm>
              <a:off x="8454145" y="135253"/>
              <a:ext cx="593037" cy="268447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200" name="AutoShape 6"/>
            <p:cNvSpPr>
              <a:spLocks noChangeArrowheads="1"/>
            </p:cNvSpPr>
            <p:nvPr/>
          </p:nvSpPr>
          <p:spPr bwMode="auto">
            <a:xfrm>
              <a:off x="7959548" y="135253"/>
              <a:ext cx="593037" cy="268447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201" name="AutoShape 8"/>
            <p:cNvSpPr>
              <a:spLocks noChangeArrowheads="1"/>
            </p:cNvSpPr>
            <p:nvPr/>
          </p:nvSpPr>
          <p:spPr bwMode="auto">
            <a:xfrm>
              <a:off x="7464951" y="135253"/>
              <a:ext cx="590635" cy="268447"/>
            </a:xfrm>
            <a:prstGeom prst="homePlate">
              <a:avLst>
                <a:gd name="adj" fmla="val 2537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202" name="AutoShape 10"/>
            <p:cNvSpPr>
              <a:spLocks noChangeArrowheads="1"/>
            </p:cNvSpPr>
            <p:nvPr/>
          </p:nvSpPr>
          <p:spPr bwMode="auto">
            <a:xfrm>
              <a:off x="6967954" y="135253"/>
              <a:ext cx="593035" cy="268447"/>
            </a:xfrm>
            <a:prstGeom prst="homePlate">
              <a:avLst>
                <a:gd name="adj" fmla="val 2131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203" name="AutoShape 12"/>
            <p:cNvSpPr>
              <a:spLocks noChangeArrowheads="1"/>
            </p:cNvSpPr>
            <p:nvPr/>
          </p:nvSpPr>
          <p:spPr bwMode="auto">
            <a:xfrm>
              <a:off x="6454149" y="67707"/>
              <a:ext cx="593035" cy="268449"/>
            </a:xfrm>
            <a:prstGeom prst="homePlate">
              <a:avLst>
                <a:gd name="adj" fmla="val 25446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75" name="TextBox 13"/>
          <p:cNvSpPr txBox="1">
            <a:spLocks noChangeArrowheads="1"/>
          </p:cNvSpPr>
          <p:nvPr/>
        </p:nvSpPr>
        <p:spPr bwMode="auto">
          <a:xfrm>
            <a:off x="1857375" y="1100138"/>
            <a:ext cx="159226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A001 </a:t>
            </a: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정보</a:t>
            </a:r>
          </a:p>
        </p:txBody>
      </p:sp>
      <p:sp>
        <p:nvSpPr>
          <p:cNvPr id="7176" name="TextBox 17"/>
          <p:cNvSpPr txBox="1">
            <a:spLocks noChangeArrowheads="1"/>
          </p:cNvSpPr>
          <p:nvPr/>
        </p:nvSpPr>
        <p:spPr bwMode="auto">
          <a:xfrm>
            <a:off x="6143625" y="1100138"/>
            <a:ext cx="226536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로 인한 충전 속도 저하</a:t>
            </a:r>
          </a:p>
        </p:txBody>
      </p:sp>
      <p:cxnSp>
        <p:nvCxnSpPr>
          <p:cNvPr id="32" name="직선 연결선 31"/>
          <p:cNvCxnSpPr/>
          <p:nvPr/>
        </p:nvCxnSpPr>
        <p:spPr>
          <a:xfrm>
            <a:off x="449263" y="1468438"/>
            <a:ext cx="44338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>
          <a:xfrm>
            <a:off x="5153025" y="1468438"/>
            <a:ext cx="4435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359"/>
          <p:cNvSpPr txBox="1">
            <a:spLocks noChangeArrowheads="1"/>
          </p:cNvSpPr>
          <p:nvPr/>
        </p:nvSpPr>
        <p:spPr bwMode="auto">
          <a:xfrm>
            <a:off x="488950" y="1619250"/>
            <a:ext cx="4600575" cy="372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spase 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steine-dependent </a:t>
            </a:r>
            <a:r>
              <a:rPr lang="en-US" altLang="ko-KR" sz="12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sp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rtate-directed prote</a:t>
            </a:r>
            <a:r>
              <a:rPr lang="en-US" altLang="ko-KR" sz="12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se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spase Inhibitors targeting OA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골세포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사멸 억제와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L-1 beta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저해를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통한 염증 억제 및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골세포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사멸 방지를 통해 근원적 치료가 가능</a:t>
            </a:r>
          </a:p>
          <a:p>
            <a:pPr marL="0" indent="0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  <a:defRPr/>
            </a:pP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통증 억제 효능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퇴행성 관절염과 같은 자가염증질환인 통풍에서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L-1beta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차단제는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iamcinolone </a:t>
            </a:r>
            <a:r>
              <a:rPr lang="en-US" altLang="ko-KR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cetonide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보다 높은 효능을 보임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  <a:defRPr/>
            </a:pP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임상샘플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생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적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b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및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샘플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간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08/24 ~ 09/18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자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용직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 채용</a:t>
            </a:r>
          </a:p>
        </p:txBody>
      </p:sp>
      <p:sp>
        <p:nvSpPr>
          <p:cNvPr id="7180" name="Text Box 359"/>
          <p:cNvSpPr txBox="1">
            <a:spLocks noChangeArrowheads="1"/>
          </p:cNvSpPr>
          <p:nvPr/>
        </p:nvSpPr>
        <p:spPr bwMode="auto">
          <a:xfrm>
            <a:off x="5167313" y="1604963"/>
            <a:ext cx="4394200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내부 정전기 이슈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에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형성되는 정전기로 인해 충전에 시간이 오래 소요됨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되는 분말이 소량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8mg)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라서 충전 편차 허용기준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(+/-0.1mg)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ight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함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당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대략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 정도의 안정화 시간이 소요됨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7182" name="Picture 2" descr="\\Client\E$\#.Secure Work Folder\@ 바로가기\연결통로\68c043e2ac0ee141f26c906600cac256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163" y="4806950"/>
            <a:ext cx="1047750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타원 1"/>
          <p:cNvSpPr>
            <a:spLocks noChangeArrowheads="1"/>
          </p:cNvSpPr>
          <p:nvPr/>
        </p:nvSpPr>
        <p:spPr bwMode="auto">
          <a:xfrm>
            <a:off x="8005763" y="5430838"/>
            <a:ext cx="42862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4" name="타원 32"/>
          <p:cNvSpPr>
            <a:spLocks noChangeArrowheads="1"/>
          </p:cNvSpPr>
          <p:nvPr/>
        </p:nvSpPr>
        <p:spPr bwMode="auto">
          <a:xfrm>
            <a:off x="8005763" y="5583238"/>
            <a:ext cx="42862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5" name="타원 33"/>
          <p:cNvSpPr>
            <a:spLocks noChangeArrowheads="1"/>
          </p:cNvSpPr>
          <p:nvPr/>
        </p:nvSpPr>
        <p:spPr bwMode="auto">
          <a:xfrm>
            <a:off x="8005763" y="5503863"/>
            <a:ext cx="42862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6" name="타원 34"/>
          <p:cNvSpPr>
            <a:spLocks noChangeArrowheads="1"/>
          </p:cNvSpPr>
          <p:nvPr/>
        </p:nvSpPr>
        <p:spPr bwMode="auto">
          <a:xfrm>
            <a:off x="8294688" y="5430838"/>
            <a:ext cx="41275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7" name="타원 35"/>
          <p:cNvSpPr>
            <a:spLocks noChangeArrowheads="1"/>
          </p:cNvSpPr>
          <p:nvPr/>
        </p:nvSpPr>
        <p:spPr bwMode="auto">
          <a:xfrm>
            <a:off x="8294688" y="5583238"/>
            <a:ext cx="41275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8" name="타원 36"/>
          <p:cNvSpPr>
            <a:spLocks noChangeArrowheads="1"/>
          </p:cNvSpPr>
          <p:nvPr/>
        </p:nvSpPr>
        <p:spPr bwMode="auto">
          <a:xfrm>
            <a:off x="8294688" y="5503863"/>
            <a:ext cx="41275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89" name="타원 37"/>
          <p:cNvSpPr>
            <a:spLocks noChangeArrowheads="1"/>
          </p:cNvSpPr>
          <p:nvPr/>
        </p:nvSpPr>
        <p:spPr bwMode="auto">
          <a:xfrm rot="-4500000">
            <a:off x="8071643" y="5631657"/>
            <a:ext cx="42863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90" name="타원 38"/>
          <p:cNvSpPr>
            <a:spLocks noChangeArrowheads="1"/>
          </p:cNvSpPr>
          <p:nvPr/>
        </p:nvSpPr>
        <p:spPr bwMode="auto">
          <a:xfrm rot="-4500000">
            <a:off x="8150225" y="5640388"/>
            <a:ext cx="41275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91" name="타원 39"/>
          <p:cNvSpPr>
            <a:spLocks noChangeArrowheads="1"/>
          </p:cNvSpPr>
          <p:nvPr/>
        </p:nvSpPr>
        <p:spPr bwMode="auto">
          <a:xfrm rot="-4500000">
            <a:off x="8230393" y="5631657"/>
            <a:ext cx="42863" cy="4445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91413" tIns="45707" rIns="91413" bIns="45707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85000"/>
              </a:lnSpc>
              <a:spcBef>
                <a:spcPct val="30000"/>
              </a:spcBef>
              <a:spcAft>
                <a:spcPct val="30000"/>
              </a:spcAft>
              <a:buFont typeface="Wingdings" panose="05000000000000000000" pitchFamily="2" charset="2"/>
              <a:buNone/>
            </a:pPr>
            <a:endParaRPr lang="ko-KR" altLang="en-US" sz="1200">
              <a:solidFill>
                <a:srgbClr val="404040"/>
              </a:solidFill>
              <a:latin typeface="Arial" panose="020B0604020202020204" pitchFamily="34" charset="0"/>
              <a:ea typeface="돋움" panose="020B0600000101010101" pitchFamily="50" charset="-127"/>
            </a:endParaRPr>
          </a:p>
        </p:txBody>
      </p:sp>
      <p:sp>
        <p:nvSpPr>
          <p:cNvPr id="7192" name="Text Box 359"/>
          <p:cNvSpPr txBox="1">
            <a:spLocks noChangeArrowheads="1"/>
          </p:cNvSpPr>
          <p:nvPr/>
        </p:nvSpPr>
        <p:spPr bwMode="auto">
          <a:xfrm>
            <a:off x="6011863" y="4287838"/>
            <a:ext cx="9334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utosampler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193" name="Text Box 359"/>
          <p:cNvSpPr txBox="1">
            <a:spLocks noChangeArrowheads="1"/>
          </p:cNvSpPr>
          <p:nvPr/>
        </p:nvSpPr>
        <p:spPr bwMode="auto">
          <a:xfrm>
            <a:off x="7640638" y="4287838"/>
            <a:ext cx="13668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말 충전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194" name="Text Box 359"/>
          <p:cNvSpPr txBox="1">
            <a:spLocks noChangeArrowheads="1"/>
          </p:cNvSpPr>
          <p:nvPr/>
        </p:nvSpPr>
        <p:spPr bwMode="auto">
          <a:xfrm>
            <a:off x="5745163" y="5013325"/>
            <a:ext cx="19272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로 인해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벽면에 분말이 잔류하거나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내부에 분말이 부유함</a:t>
            </a:r>
            <a:endParaRPr lang="en-US" altLang="ko-KR" sz="1000" b="0" u="sng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4" name="타원 53"/>
          <p:cNvSpPr/>
          <p:nvPr/>
        </p:nvSpPr>
        <p:spPr>
          <a:xfrm>
            <a:off x="7747000" y="4745038"/>
            <a:ext cx="871538" cy="1152525"/>
          </a:xfrm>
          <a:prstGeom prst="ellipse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0">
              <a:solidFill>
                <a:prstClr val="white"/>
              </a:solidFill>
            </a:endParaRPr>
          </a:p>
        </p:txBody>
      </p:sp>
      <p:sp>
        <p:nvSpPr>
          <p:cNvPr id="55" name="타원 54"/>
          <p:cNvSpPr/>
          <p:nvPr/>
        </p:nvSpPr>
        <p:spPr>
          <a:xfrm>
            <a:off x="8121650" y="3352800"/>
            <a:ext cx="654050" cy="868363"/>
          </a:xfrm>
          <a:prstGeom prst="ellipse">
            <a:avLst/>
          </a:prstGeom>
          <a:noFill/>
          <a:ln w="1270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b="0">
              <a:solidFill>
                <a:prstClr val="white"/>
              </a:solidFill>
            </a:endParaRPr>
          </a:p>
        </p:txBody>
      </p:sp>
      <p:cxnSp>
        <p:nvCxnSpPr>
          <p:cNvPr id="56" name="직선 연결선 55"/>
          <p:cNvCxnSpPr>
            <a:stCxn id="55" idx="2"/>
            <a:endCxn id="54" idx="1"/>
          </p:cNvCxnSpPr>
          <p:nvPr/>
        </p:nvCxnSpPr>
        <p:spPr>
          <a:xfrm flipH="1">
            <a:off x="7874000" y="3787775"/>
            <a:ext cx="247650" cy="1125538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>
            <a:stCxn id="55" idx="5"/>
            <a:endCxn id="54" idx="6"/>
          </p:cNvCxnSpPr>
          <p:nvPr/>
        </p:nvCxnSpPr>
        <p:spPr>
          <a:xfrm flipH="1">
            <a:off x="8618538" y="4094163"/>
            <a:ext cx="60325" cy="1227137"/>
          </a:xfrm>
          <a:prstGeom prst="line">
            <a:avLst/>
          </a:prstGeom>
          <a:ln w="63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849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9219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82"/>
            <a:chExt cx="2593033" cy="346385"/>
          </a:xfrm>
        </p:grpSpPr>
        <p:sp>
          <p:nvSpPr>
            <p:cNvPr id="9233" name="AutoShape 4"/>
            <p:cNvSpPr>
              <a:spLocks noChangeArrowheads="1"/>
            </p:cNvSpPr>
            <p:nvPr/>
          </p:nvSpPr>
          <p:spPr bwMode="auto">
            <a:xfrm>
              <a:off x="8454145" y="135228"/>
              <a:ext cx="593037" cy="268448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234" name="AutoShape 6"/>
            <p:cNvSpPr>
              <a:spLocks noChangeArrowheads="1"/>
            </p:cNvSpPr>
            <p:nvPr/>
          </p:nvSpPr>
          <p:spPr bwMode="auto">
            <a:xfrm>
              <a:off x="7959548" y="135228"/>
              <a:ext cx="593037" cy="268448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235" name="AutoShape 8"/>
            <p:cNvSpPr>
              <a:spLocks noChangeArrowheads="1"/>
            </p:cNvSpPr>
            <p:nvPr/>
          </p:nvSpPr>
          <p:spPr bwMode="auto">
            <a:xfrm>
              <a:off x="7464951" y="135228"/>
              <a:ext cx="590635" cy="268448"/>
            </a:xfrm>
            <a:prstGeom prst="homePlate">
              <a:avLst>
                <a:gd name="adj" fmla="val 2537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236" name="AutoShape 10"/>
            <p:cNvSpPr>
              <a:spLocks noChangeArrowheads="1"/>
            </p:cNvSpPr>
            <p:nvPr/>
          </p:nvSpPr>
          <p:spPr bwMode="auto">
            <a:xfrm>
              <a:off x="6967954" y="67682"/>
              <a:ext cx="593035" cy="268449"/>
            </a:xfrm>
            <a:prstGeom prst="homePlate">
              <a:avLst>
                <a:gd name="adj" fmla="val 2131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9237" name="AutoShape 12"/>
            <p:cNvSpPr>
              <a:spLocks noChangeArrowheads="1"/>
            </p:cNvSpPr>
            <p:nvPr/>
          </p:nvSpPr>
          <p:spPr bwMode="auto">
            <a:xfrm>
              <a:off x="6454149" y="145619"/>
              <a:ext cx="593035" cy="268448"/>
            </a:xfrm>
            <a:prstGeom prst="homePlate">
              <a:avLst>
                <a:gd name="adj" fmla="val 25446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46" name="Text Box 4"/>
          <p:cNvSpPr txBox="1">
            <a:spLocks noChangeArrowheads="1"/>
          </p:cNvSpPr>
          <p:nvPr/>
        </p:nvSpPr>
        <p:spPr bwMode="auto">
          <a:xfrm>
            <a:off x="57150" y="76200"/>
            <a:ext cx="3054350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현수준</a:t>
            </a: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측정 및 목표 설정</a:t>
            </a:r>
          </a:p>
        </p:txBody>
      </p:sp>
      <p:sp>
        <p:nvSpPr>
          <p:cNvPr id="9221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정전기 제거를 통한 충전 기간 단축</a:t>
            </a:r>
            <a:endParaRPr lang="en-US" altLang="ko-KR" sz="16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222" name="Text Box 372"/>
          <p:cNvSpPr txBox="1">
            <a:spLocks noChangeArrowheads="1"/>
          </p:cNvSpPr>
          <p:nvPr/>
        </p:nvSpPr>
        <p:spPr bwMode="auto">
          <a:xfrm>
            <a:off x="6538913" y="3879850"/>
            <a:ext cx="628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 수준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9" name="Line 375"/>
          <p:cNvSpPr>
            <a:spLocks noChangeShapeType="1"/>
          </p:cNvSpPr>
          <p:nvPr/>
        </p:nvSpPr>
        <p:spPr bwMode="auto">
          <a:xfrm>
            <a:off x="6594475" y="3865563"/>
            <a:ext cx="1289050" cy="1587"/>
          </a:xfrm>
          <a:prstGeom prst="line">
            <a:avLst/>
          </a:prstGeom>
          <a:noFill/>
          <a:ln w="38100">
            <a:solidFill>
              <a:sysClr val="window" lastClr="FFFFFF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0" name="Rectangle 370"/>
          <p:cNvSpPr>
            <a:spLocks noChangeArrowheads="1"/>
          </p:cNvSpPr>
          <p:nvPr/>
        </p:nvSpPr>
        <p:spPr bwMode="auto">
          <a:xfrm>
            <a:off x="6626225" y="2730500"/>
            <a:ext cx="447675" cy="112871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Rectangle 371"/>
          <p:cNvSpPr>
            <a:spLocks noChangeArrowheads="1"/>
          </p:cNvSpPr>
          <p:nvPr/>
        </p:nvSpPr>
        <p:spPr bwMode="auto">
          <a:xfrm>
            <a:off x="7380288" y="2962275"/>
            <a:ext cx="447675" cy="90011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2" name="Line 38"/>
          <p:cNvSpPr>
            <a:spLocks noChangeShapeType="1"/>
          </p:cNvSpPr>
          <p:nvPr/>
        </p:nvSpPr>
        <p:spPr bwMode="auto">
          <a:xfrm flipV="1">
            <a:off x="6465888" y="3871913"/>
            <a:ext cx="1525587" cy="0"/>
          </a:xfrm>
          <a:prstGeom prst="line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227" name="Text Box 372"/>
          <p:cNvSpPr txBox="1">
            <a:spLocks noChangeArrowheads="1"/>
          </p:cNvSpPr>
          <p:nvPr/>
        </p:nvSpPr>
        <p:spPr bwMode="auto">
          <a:xfrm>
            <a:off x="7299325" y="3889375"/>
            <a:ext cx="628650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4" name="Freeform 379"/>
          <p:cNvSpPr>
            <a:spLocks noChangeAspect="1"/>
          </p:cNvSpPr>
          <p:nvPr/>
        </p:nvSpPr>
        <p:spPr bwMode="auto">
          <a:xfrm rot="4122523">
            <a:off x="7090569" y="2650332"/>
            <a:ext cx="377825" cy="249237"/>
          </a:xfrm>
          <a:custGeom>
            <a:avLst/>
            <a:gdLst>
              <a:gd name="T0" fmla="*/ 2147483647 w 1006"/>
              <a:gd name="T1" fmla="*/ 2147483647 h 1032"/>
              <a:gd name="T2" fmla="*/ 2147483647 w 1006"/>
              <a:gd name="T3" fmla="*/ 0 h 1032"/>
              <a:gd name="T4" fmla="*/ 2147483647 w 1006"/>
              <a:gd name="T5" fmla="*/ 2147483647 h 1032"/>
              <a:gd name="T6" fmla="*/ 2147483647 w 1006"/>
              <a:gd name="T7" fmla="*/ 2147483647 h 1032"/>
              <a:gd name="T8" fmla="*/ 2147483647 w 1006"/>
              <a:gd name="T9" fmla="*/ 2147483647 h 1032"/>
              <a:gd name="T10" fmla="*/ 2147483647 w 1006"/>
              <a:gd name="T11" fmla="*/ 2147483647 h 1032"/>
              <a:gd name="T12" fmla="*/ 2147483647 w 1006"/>
              <a:gd name="T13" fmla="*/ 2147483647 h 1032"/>
              <a:gd name="T14" fmla="*/ 2147483647 w 1006"/>
              <a:gd name="T15" fmla="*/ 2147483647 h 1032"/>
              <a:gd name="T16" fmla="*/ 2147483647 w 1006"/>
              <a:gd name="T17" fmla="*/ 2147483647 h 1032"/>
              <a:gd name="T18" fmla="*/ 2147483647 w 1006"/>
              <a:gd name="T19" fmla="*/ 2147483647 h 1032"/>
              <a:gd name="T20" fmla="*/ 2147483647 w 1006"/>
              <a:gd name="T21" fmla="*/ 2147483647 h 1032"/>
              <a:gd name="T22" fmla="*/ 2147483647 w 1006"/>
              <a:gd name="T23" fmla="*/ 2147483647 h 1032"/>
              <a:gd name="T24" fmla="*/ 2147483647 w 1006"/>
              <a:gd name="T25" fmla="*/ 2147483647 h 1032"/>
              <a:gd name="T26" fmla="*/ 2147483647 w 1006"/>
              <a:gd name="T27" fmla="*/ 2147483647 h 1032"/>
              <a:gd name="T28" fmla="*/ 2147483647 w 1006"/>
              <a:gd name="T29" fmla="*/ 2147483647 h 1032"/>
              <a:gd name="T30" fmla="*/ 2147483647 w 1006"/>
              <a:gd name="T31" fmla="*/ 2147483647 h 1032"/>
              <a:gd name="T32" fmla="*/ 2147483647 w 1006"/>
              <a:gd name="T33" fmla="*/ 2147483647 h 1032"/>
              <a:gd name="T34" fmla="*/ 0 w 1006"/>
              <a:gd name="T35" fmla="*/ 2147483647 h 1032"/>
              <a:gd name="T36" fmla="*/ 2147483647 w 1006"/>
              <a:gd name="T37" fmla="*/ 2147483647 h 1032"/>
              <a:gd name="T38" fmla="*/ 2147483647 w 1006"/>
              <a:gd name="T39" fmla="*/ 2147483647 h 1032"/>
              <a:gd name="T40" fmla="*/ 2147483647 w 1006"/>
              <a:gd name="T41" fmla="*/ 2147483647 h 1032"/>
              <a:gd name="T42" fmla="*/ 2147483647 w 1006"/>
              <a:gd name="T43" fmla="*/ 2147483647 h 1032"/>
              <a:gd name="T44" fmla="*/ 2147483647 w 1006"/>
              <a:gd name="T45" fmla="*/ 2147483647 h 1032"/>
              <a:gd name="T46" fmla="*/ 2147483647 w 1006"/>
              <a:gd name="T47" fmla="*/ 2147483647 h 1032"/>
              <a:gd name="T48" fmla="*/ 2147483647 w 1006"/>
              <a:gd name="T49" fmla="*/ 2147483647 h 1032"/>
              <a:gd name="T50" fmla="*/ 2147483647 w 1006"/>
              <a:gd name="T51" fmla="*/ 2147483647 h 1032"/>
              <a:gd name="T52" fmla="*/ 2147483647 w 1006"/>
              <a:gd name="T53" fmla="*/ 2147483647 h 1032"/>
              <a:gd name="T54" fmla="*/ 2147483647 w 1006"/>
              <a:gd name="T55" fmla="*/ 2147483647 h 1032"/>
              <a:gd name="T56" fmla="*/ 2147483647 w 1006"/>
              <a:gd name="T57" fmla="*/ 2147483647 h 1032"/>
              <a:gd name="T58" fmla="*/ 2147483647 w 1006"/>
              <a:gd name="T59" fmla="*/ 2147483647 h 1032"/>
              <a:gd name="T60" fmla="*/ 2147483647 w 1006"/>
              <a:gd name="T61" fmla="*/ 2147483647 h 1032"/>
              <a:gd name="T62" fmla="*/ 2147483647 w 1006"/>
              <a:gd name="T63" fmla="*/ 2147483647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6"/>
              <a:gd name="T97" fmla="*/ 0 h 1032"/>
              <a:gd name="T98" fmla="*/ 1006 w 1006"/>
              <a:gd name="T99" fmla="*/ 1032 h 103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6" h="1032">
                <a:moveTo>
                  <a:pt x="824" y="289"/>
                </a:moveTo>
                <a:lnTo>
                  <a:pt x="824" y="350"/>
                </a:lnTo>
                <a:lnTo>
                  <a:pt x="1005" y="194"/>
                </a:lnTo>
                <a:lnTo>
                  <a:pt x="841" y="0"/>
                </a:lnTo>
                <a:lnTo>
                  <a:pt x="837" y="62"/>
                </a:lnTo>
                <a:lnTo>
                  <a:pt x="803" y="53"/>
                </a:lnTo>
                <a:lnTo>
                  <a:pt x="765" y="56"/>
                </a:lnTo>
                <a:lnTo>
                  <a:pt x="735" y="62"/>
                </a:lnTo>
                <a:lnTo>
                  <a:pt x="705" y="65"/>
                </a:lnTo>
                <a:lnTo>
                  <a:pt x="670" y="70"/>
                </a:lnTo>
                <a:lnTo>
                  <a:pt x="634" y="80"/>
                </a:lnTo>
                <a:lnTo>
                  <a:pt x="597" y="93"/>
                </a:lnTo>
                <a:lnTo>
                  <a:pt x="568" y="103"/>
                </a:lnTo>
                <a:lnTo>
                  <a:pt x="533" y="118"/>
                </a:lnTo>
                <a:lnTo>
                  <a:pt x="498" y="133"/>
                </a:lnTo>
                <a:lnTo>
                  <a:pt x="474" y="151"/>
                </a:lnTo>
                <a:lnTo>
                  <a:pt x="444" y="166"/>
                </a:lnTo>
                <a:lnTo>
                  <a:pt x="417" y="188"/>
                </a:lnTo>
                <a:lnTo>
                  <a:pt x="386" y="216"/>
                </a:lnTo>
                <a:lnTo>
                  <a:pt x="355" y="243"/>
                </a:lnTo>
                <a:lnTo>
                  <a:pt x="318" y="286"/>
                </a:lnTo>
                <a:lnTo>
                  <a:pt x="281" y="328"/>
                </a:lnTo>
                <a:lnTo>
                  <a:pt x="250" y="367"/>
                </a:lnTo>
                <a:lnTo>
                  <a:pt x="224" y="404"/>
                </a:lnTo>
                <a:lnTo>
                  <a:pt x="198" y="438"/>
                </a:lnTo>
                <a:lnTo>
                  <a:pt x="177" y="476"/>
                </a:lnTo>
                <a:lnTo>
                  <a:pt x="152" y="521"/>
                </a:lnTo>
                <a:lnTo>
                  <a:pt x="133" y="562"/>
                </a:lnTo>
                <a:lnTo>
                  <a:pt x="109" y="615"/>
                </a:lnTo>
                <a:lnTo>
                  <a:pt x="87" y="672"/>
                </a:lnTo>
                <a:lnTo>
                  <a:pt x="72" y="718"/>
                </a:lnTo>
                <a:lnTo>
                  <a:pt x="51" y="779"/>
                </a:lnTo>
                <a:lnTo>
                  <a:pt x="38" y="820"/>
                </a:lnTo>
                <a:lnTo>
                  <a:pt x="31" y="858"/>
                </a:lnTo>
                <a:lnTo>
                  <a:pt x="17" y="919"/>
                </a:lnTo>
                <a:lnTo>
                  <a:pt x="0" y="1031"/>
                </a:lnTo>
                <a:lnTo>
                  <a:pt x="35" y="903"/>
                </a:lnTo>
                <a:lnTo>
                  <a:pt x="54" y="851"/>
                </a:lnTo>
                <a:lnTo>
                  <a:pt x="69" y="799"/>
                </a:lnTo>
                <a:lnTo>
                  <a:pt x="88" y="754"/>
                </a:lnTo>
                <a:lnTo>
                  <a:pt x="111" y="714"/>
                </a:lnTo>
                <a:lnTo>
                  <a:pt x="132" y="672"/>
                </a:lnTo>
                <a:lnTo>
                  <a:pt x="155" y="632"/>
                </a:lnTo>
                <a:lnTo>
                  <a:pt x="176" y="598"/>
                </a:lnTo>
                <a:lnTo>
                  <a:pt x="201" y="567"/>
                </a:lnTo>
                <a:lnTo>
                  <a:pt x="226" y="534"/>
                </a:lnTo>
                <a:lnTo>
                  <a:pt x="253" y="508"/>
                </a:lnTo>
                <a:lnTo>
                  <a:pt x="272" y="485"/>
                </a:lnTo>
                <a:lnTo>
                  <a:pt x="302" y="462"/>
                </a:lnTo>
                <a:lnTo>
                  <a:pt x="333" y="433"/>
                </a:lnTo>
                <a:lnTo>
                  <a:pt x="361" y="414"/>
                </a:lnTo>
                <a:lnTo>
                  <a:pt x="390" y="395"/>
                </a:lnTo>
                <a:lnTo>
                  <a:pt x="425" y="370"/>
                </a:lnTo>
                <a:lnTo>
                  <a:pt x="466" y="351"/>
                </a:lnTo>
                <a:lnTo>
                  <a:pt x="502" y="335"/>
                </a:lnTo>
                <a:lnTo>
                  <a:pt x="536" y="323"/>
                </a:lnTo>
                <a:lnTo>
                  <a:pt x="573" y="308"/>
                </a:lnTo>
                <a:lnTo>
                  <a:pt x="604" y="300"/>
                </a:lnTo>
                <a:lnTo>
                  <a:pt x="635" y="295"/>
                </a:lnTo>
                <a:lnTo>
                  <a:pt x="675" y="288"/>
                </a:lnTo>
                <a:lnTo>
                  <a:pt x="704" y="282"/>
                </a:lnTo>
                <a:lnTo>
                  <a:pt x="745" y="280"/>
                </a:lnTo>
                <a:lnTo>
                  <a:pt x="778" y="280"/>
                </a:lnTo>
                <a:lnTo>
                  <a:pt x="824" y="289"/>
                </a:lnTo>
              </a:path>
            </a:pathLst>
          </a:custGeom>
          <a:solidFill>
            <a:srgbClr val="C0504D"/>
          </a:solidFill>
          <a:ln w="19050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229" name="Text Box 372"/>
          <p:cNvSpPr txBox="1">
            <a:spLocks noChangeArrowheads="1"/>
          </p:cNvSpPr>
          <p:nvPr/>
        </p:nvSpPr>
        <p:spPr bwMode="auto">
          <a:xfrm>
            <a:off x="6543675" y="3151188"/>
            <a:ext cx="6286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230" name="Text Box 372"/>
          <p:cNvSpPr txBox="1">
            <a:spLocks noChangeArrowheads="1"/>
          </p:cNvSpPr>
          <p:nvPr/>
        </p:nvSpPr>
        <p:spPr bwMode="auto">
          <a:xfrm>
            <a:off x="7294563" y="3151188"/>
            <a:ext cx="6286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6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231" name="Text Box 372"/>
          <p:cNvSpPr txBox="1">
            <a:spLocks noChangeArrowheads="1"/>
          </p:cNvSpPr>
          <p:nvPr/>
        </p:nvSpPr>
        <p:spPr bwMode="auto">
          <a:xfrm>
            <a:off x="7156450" y="2276475"/>
            <a:ext cx="9096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0%)</a:t>
            </a:r>
            <a:b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</a:t>
            </a:r>
            <a:endParaRPr lang="en-US" altLang="ko-KR" sz="1000" b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232" name="Text Box 359"/>
          <p:cNvSpPr txBox="1">
            <a:spLocks noChangeArrowheads="1"/>
          </p:cNvSpPr>
          <p:nvPr/>
        </p:nvSpPr>
        <p:spPr bwMode="auto">
          <a:xfrm>
            <a:off x="1406525" y="1725613"/>
            <a:ext cx="4770438" cy="364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2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임상샘플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b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및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생산에 소요되는 충전 기간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성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충전 속도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 내부에 생성된 정전기 안정화 시간 포함하여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 당 약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 소요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 예상 기간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b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조단위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80v) 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(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조단위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3080v) 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에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약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 소요 예상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시간 단축 목표 설정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내부 정전기 이슈 해결을 통해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 당 충전 속도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 이내로 단축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충전 기간 </a:t>
            </a:r>
            <a:r>
              <a:rPr lang="en-US" altLang="ko-KR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4</a:t>
            </a:r>
            <a:r>
              <a:rPr lang="ko-KR" altLang="en-US" sz="12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일 이상 단축 목표</a:t>
            </a:r>
            <a:endParaRPr lang="en-US" altLang="ko-KR" sz="12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55475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25" y="1781175"/>
            <a:ext cx="4529138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450" y="1792288"/>
            <a:ext cx="2816225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27"/>
          <a:stretch>
            <a:fillRect/>
          </a:stretch>
        </p:blipFill>
        <p:spPr bwMode="auto">
          <a:xfrm>
            <a:off x="7977188" y="3251200"/>
            <a:ext cx="1335087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9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정전기를 최소화할 수 있는 방안 마련</a:t>
            </a:r>
            <a:endParaRPr lang="en-US" altLang="ko-KR" sz="16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27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82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482850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이슈 해결 방안 탐색</a:t>
            </a:r>
          </a:p>
        </p:txBody>
      </p:sp>
      <p:grpSp>
        <p:nvGrpSpPr>
          <p:cNvPr id="11272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11293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294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295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296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297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11273" name="TextBox 30"/>
          <p:cNvSpPr txBox="1">
            <a:spLocks noChangeArrowheads="1"/>
          </p:cNvSpPr>
          <p:nvPr/>
        </p:nvSpPr>
        <p:spPr bwMode="auto">
          <a:xfrm>
            <a:off x="5902325" y="1066800"/>
            <a:ext cx="2579688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 제거를 위한 치명인자 선정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3" name="직선 연결선 32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76" name="TextBox 35"/>
          <p:cNvSpPr txBox="1">
            <a:spLocks noChangeArrowheads="1"/>
          </p:cNvSpPr>
          <p:nvPr/>
        </p:nvSpPr>
        <p:spPr bwMode="auto">
          <a:xfrm>
            <a:off x="1911350" y="1060450"/>
            <a:ext cx="133191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특성요인도</a:t>
            </a:r>
            <a:r>
              <a:rPr lang="en-US" altLang="ko-KR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77" name="직사각형 34"/>
          <p:cNvSpPr>
            <a:spLocks noChangeArrowheads="1"/>
          </p:cNvSpPr>
          <p:nvPr/>
        </p:nvSpPr>
        <p:spPr bwMode="auto">
          <a:xfrm>
            <a:off x="92075" y="6597650"/>
            <a:ext cx="59404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 </a:t>
            </a:r>
            <a:r>
              <a:rPr lang="ko-KR" altLang="en-US" sz="800" b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미지 출처 </a:t>
            </a:r>
            <a:r>
              <a:rPr lang="en-US" altLang="ko-KR" sz="800" b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Electronics and You</a:t>
            </a:r>
            <a:r>
              <a:rPr lang="ko-KR" altLang="en-US" sz="800" b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Website]. (2020, Sep. 11). Retrieved from </a:t>
            </a:r>
            <a:r>
              <a:rPr lang="en-US" altLang="ko-KR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ww.electronicsandyyou.com</a:t>
            </a:r>
            <a:endParaRPr lang="ko-KR" altLang="en-US" sz="8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78" name="직사각형 34"/>
          <p:cNvSpPr>
            <a:spLocks noChangeArrowheads="1"/>
          </p:cNvSpPr>
          <p:nvPr/>
        </p:nvSpPr>
        <p:spPr bwMode="auto">
          <a:xfrm>
            <a:off x="2654300" y="4510088"/>
            <a:ext cx="208280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 </a:t>
            </a:r>
            <a:r>
              <a:rPr lang="ko-KR" altLang="en-US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 방전 </a:t>
            </a:r>
            <a:r>
              <a:rPr lang="en-US" altLang="ko-KR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SD, Electrostatic discharge)</a:t>
            </a:r>
            <a:endParaRPr lang="ko-KR" altLang="en-US" sz="8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79" name="직사각형 34"/>
          <p:cNvSpPr>
            <a:spLocks noChangeArrowheads="1"/>
          </p:cNvSpPr>
          <p:nvPr/>
        </p:nvSpPr>
        <p:spPr bwMode="auto">
          <a:xfrm>
            <a:off x="398463" y="3836988"/>
            <a:ext cx="20812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⑦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0" name="직사각형 34"/>
          <p:cNvSpPr>
            <a:spLocks noChangeArrowheads="1"/>
          </p:cNvSpPr>
          <p:nvPr/>
        </p:nvSpPr>
        <p:spPr bwMode="auto">
          <a:xfrm>
            <a:off x="3432175" y="2211388"/>
            <a:ext cx="4127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1" name="직사각형 34"/>
          <p:cNvSpPr>
            <a:spLocks noChangeArrowheads="1"/>
          </p:cNvSpPr>
          <p:nvPr/>
        </p:nvSpPr>
        <p:spPr bwMode="auto">
          <a:xfrm>
            <a:off x="3081338" y="1773238"/>
            <a:ext cx="4111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2" name="Text Box 359"/>
          <p:cNvSpPr txBox="1">
            <a:spLocks noChangeArrowheads="1"/>
          </p:cNvSpPr>
          <p:nvPr/>
        </p:nvSpPr>
        <p:spPr bwMode="auto">
          <a:xfrm>
            <a:off x="5600700" y="3522663"/>
            <a:ext cx="2305050" cy="280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HY울릉도B"/>
              <a:buAutoNum type="circleNumDbPlain"/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onizer</a:t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 </a:t>
            </a:r>
            <a:r>
              <a:rPr lang="ko-KR" altLang="en-US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내부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onizer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발생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정전기 제거 효과 미미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HY울릉도B"/>
              <a:buAutoNum type="circleNumDbPlain"/>
            </a:pP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SD Safe Soldering Station</a:t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ettler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Toledo </a:t>
            </a:r>
            <a:r>
              <a:rPr lang="ko-KR" altLang="en-US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의후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설치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정전기 제거 효과 미미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HY울릉도B"/>
              <a:buAutoNum type="circleNumDbPlain"/>
            </a:pP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Grounding</a:t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접지선 적용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정전기 제거 효과 미미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Tx/>
              <a:buAutoNum type="circleNumDbPlain" startAt="4"/>
            </a:pP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, ⑤    , ⑥    , ⑦</a:t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    GMP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이슈로 적용 불가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HY울릉도B"/>
              <a:buAutoNum type="circleNumDbPlain" startAt="8"/>
            </a:pP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정전기 방지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Adapter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로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바이알을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감싸서 정전기 이동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Channel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제거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3" name="직사각형 34"/>
          <p:cNvSpPr>
            <a:spLocks noChangeArrowheads="1"/>
          </p:cNvSpPr>
          <p:nvPr/>
        </p:nvSpPr>
        <p:spPr bwMode="auto">
          <a:xfrm>
            <a:off x="5491163" y="2274888"/>
            <a:ext cx="6635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 Ionizer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4" name="직사각형 34"/>
          <p:cNvSpPr>
            <a:spLocks noChangeArrowheads="1"/>
          </p:cNvSpPr>
          <p:nvPr/>
        </p:nvSpPr>
        <p:spPr bwMode="auto">
          <a:xfrm>
            <a:off x="8242300" y="2566988"/>
            <a:ext cx="11747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 ESD-Safe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Soldering Station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5" name="직사각형 34"/>
          <p:cNvSpPr>
            <a:spLocks noChangeArrowheads="1"/>
          </p:cNvSpPr>
          <p:nvPr/>
        </p:nvSpPr>
        <p:spPr bwMode="auto">
          <a:xfrm>
            <a:off x="3140075" y="3757613"/>
            <a:ext cx="3413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③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6" name="직사각형 34"/>
          <p:cNvSpPr>
            <a:spLocks noChangeArrowheads="1"/>
          </p:cNvSpPr>
          <p:nvPr/>
        </p:nvSpPr>
        <p:spPr bwMode="auto">
          <a:xfrm>
            <a:off x="8191500" y="4233863"/>
            <a:ext cx="8032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③ Grounding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7" name="직사각형 34"/>
          <p:cNvSpPr>
            <a:spLocks noChangeArrowheads="1"/>
          </p:cNvSpPr>
          <p:nvPr/>
        </p:nvSpPr>
        <p:spPr bwMode="auto">
          <a:xfrm>
            <a:off x="3416300" y="2709863"/>
            <a:ext cx="3746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④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8" name="직사각형 34"/>
          <p:cNvSpPr>
            <a:spLocks noChangeArrowheads="1"/>
          </p:cNvSpPr>
          <p:nvPr/>
        </p:nvSpPr>
        <p:spPr bwMode="auto">
          <a:xfrm>
            <a:off x="857250" y="1981200"/>
            <a:ext cx="20812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⑤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89" name="직사각형 34"/>
          <p:cNvSpPr>
            <a:spLocks noChangeArrowheads="1"/>
          </p:cNvSpPr>
          <p:nvPr/>
        </p:nvSpPr>
        <p:spPr bwMode="auto">
          <a:xfrm>
            <a:off x="519113" y="3284538"/>
            <a:ext cx="20812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⑥</a:t>
            </a:r>
            <a:endParaRPr lang="ko-KR" altLang="en-US" sz="80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90" name="직사각형 34"/>
          <p:cNvSpPr>
            <a:spLocks noChangeArrowheads="1"/>
          </p:cNvSpPr>
          <p:nvPr/>
        </p:nvSpPr>
        <p:spPr bwMode="auto">
          <a:xfrm>
            <a:off x="1095375" y="4465638"/>
            <a:ext cx="277018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80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⑧</a:t>
            </a:r>
            <a:r>
              <a:rPr lang="en-US" altLang="ko-KR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 방지 </a:t>
            </a:r>
            <a:r>
              <a:rPr lang="en-US" altLang="ko-KR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</a:t>
            </a:r>
            <a:r>
              <a:rPr lang="en-US" altLang="ko-KR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sz="8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을</a:t>
            </a:r>
            <a:r>
              <a:rPr lang="ko-KR" altLang="en-US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감싸서</a:t>
            </a:r>
            <a:r>
              <a:rPr lang="en-US" altLang="ko-KR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 </a:t>
            </a:r>
            <a:r>
              <a:rPr lang="ko-KR" altLang="en-US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동 </a:t>
            </a:r>
            <a:r>
              <a:rPr lang="en-US" altLang="ko-KR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hannel</a:t>
            </a:r>
            <a:r>
              <a:rPr lang="ko-KR" altLang="en-US" sz="8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8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거</a:t>
            </a:r>
            <a:endParaRPr lang="ko-KR" altLang="en-US" sz="8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792788" y="5661025"/>
            <a:ext cx="168275" cy="4159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92188" y="4365625"/>
            <a:ext cx="168275" cy="4159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171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463" y="1989138"/>
            <a:ext cx="4403725" cy="151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238" y="2281238"/>
            <a:ext cx="1616075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5365" name="그룹 19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15380" name="AutoShape 4"/>
            <p:cNvSpPr>
              <a:spLocks noChangeArrowheads="1"/>
            </p:cNvSpPr>
            <p:nvPr/>
          </p:nvSpPr>
          <p:spPr bwMode="auto">
            <a:xfrm>
              <a:off x="9169400" y="204769"/>
              <a:ext cx="392113" cy="246080"/>
            </a:xfrm>
            <a:prstGeom prst="homePlate">
              <a:avLst>
                <a:gd name="adj" fmla="val 216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5381" name="AutoShape 6"/>
            <p:cNvSpPr>
              <a:spLocks noChangeArrowheads="1"/>
            </p:cNvSpPr>
            <p:nvPr/>
          </p:nvSpPr>
          <p:spPr bwMode="auto">
            <a:xfrm>
              <a:off x="8842375" y="142852"/>
              <a:ext cx="392113" cy="246081"/>
            </a:xfrm>
            <a:prstGeom prst="homePlate">
              <a:avLst>
                <a:gd name="adj" fmla="val 21268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5382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5383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5384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894013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파트 디자인 및 재질 선정</a:t>
            </a:r>
          </a:p>
        </p:txBody>
      </p:sp>
      <p:sp>
        <p:nvSpPr>
          <p:cNvPr id="15367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Adapter </a:t>
            </a: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디자인 및 필라멘트 선정</a:t>
            </a:r>
            <a:endParaRPr lang="en-US" altLang="ko-KR" sz="16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368" name="직사각형 34"/>
          <p:cNvSpPr>
            <a:spLocks noChangeArrowheads="1"/>
          </p:cNvSpPr>
          <p:nvPr/>
        </p:nvSpPr>
        <p:spPr bwMode="auto">
          <a:xfrm>
            <a:off x="92075" y="6581775"/>
            <a:ext cx="94694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en-US" altLang="ko-KR" sz="800" b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/>
              </a:rPr>
              <a:t>* Wikipedia Korea “3</a:t>
            </a:r>
            <a:r>
              <a:rPr kumimoji="0" lang="ko-KR" altLang="en-US" sz="800" b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/>
              </a:rPr>
              <a:t>차원 인쇄</a:t>
            </a:r>
            <a:r>
              <a:rPr kumimoji="0" lang="en-US" altLang="ko-KR" sz="800" b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/>
              </a:rPr>
              <a:t>” [Website]. (2020, Sep. 11). Retrieved from </a:t>
            </a:r>
            <a:r>
              <a:rPr lang="en-US" altLang="ko-KR" sz="8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/>
              </a:rPr>
              <a:t>https://ko.wikipedia.org/wiki/3%EC%B0%A8%EC%9B%90_%EC%9D%B8%EC%87%84#%EC%A2%85%EB%A5%98</a:t>
            </a:r>
            <a:endParaRPr lang="ko-KR" altLang="en-US" sz="8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Open Sans"/>
            </a:endParaRPr>
          </a:p>
        </p:txBody>
      </p:sp>
      <p:sp>
        <p:nvSpPr>
          <p:cNvPr id="15369" name="TextBox 30"/>
          <p:cNvSpPr txBox="1">
            <a:spLocks noChangeArrowheads="1"/>
          </p:cNvSpPr>
          <p:nvPr/>
        </p:nvSpPr>
        <p:spPr bwMode="auto">
          <a:xfrm>
            <a:off x="6781800" y="1066800"/>
            <a:ext cx="117475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라멘트 선정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72" name="TextBox 35"/>
          <p:cNvSpPr txBox="1">
            <a:spLocks noChangeArrowheads="1"/>
          </p:cNvSpPr>
          <p:nvPr/>
        </p:nvSpPr>
        <p:spPr bwMode="auto">
          <a:xfrm>
            <a:off x="1646238" y="1060450"/>
            <a:ext cx="1331912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디자인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5373" name="그림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" y="1617663"/>
            <a:ext cx="1733550" cy="236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74" name="Text Box 359"/>
          <p:cNvSpPr txBox="1">
            <a:spLocks noChangeArrowheads="1"/>
          </p:cNvSpPr>
          <p:nvPr/>
        </p:nvSpPr>
        <p:spPr bwMode="auto">
          <a:xfrm>
            <a:off x="876300" y="4029075"/>
            <a:ext cx="119697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 사이즈 확인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375" name="Text Box 359"/>
          <p:cNvSpPr txBox="1">
            <a:spLocks noChangeArrowheads="1"/>
          </p:cNvSpPr>
          <p:nvPr/>
        </p:nvSpPr>
        <p:spPr bwMode="auto">
          <a:xfrm>
            <a:off x="2593975" y="3813175"/>
            <a:ext cx="17113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gazine Set (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탄창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이즈 확인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376" name="Text Box 359"/>
          <p:cNvSpPr txBox="1">
            <a:spLocks noChangeArrowheads="1"/>
          </p:cNvSpPr>
          <p:nvPr/>
        </p:nvSpPr>
        <p:spPr bwMode="auto">
          <a:xfrm>
            <a:off x="1814513" y="6118225"/>
            <a:ext cx="14478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디자인 확정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6" name="이등변 삼각형 35"/>
          <p:cNvSpPr/>
          <p:nvPr/>
        </p:nvSpPr>
        <p:spPr>
          <a:xfrm rot="10800000">
            <a:off x="758825" y="4456113"/>
            <a:ext cx="3559175" cy="268287"/>
          </a:xfrm>
          <a:prstGeom prst="triangle">
            <a:avLst/>
          </a:prstGeom>
          <a:gradFill>
            <a:gsLst>
              <a:gs pos="33000">
                <a:schemeClr val="bg1">
                  <a:lumMod val="75000"/>
                </a:schemeClr>
              </a:gs>
              <a:gs pos="6600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/>
          </a:p>
        </p:txBody>
      </p:sp>
      <p:sp>
        <p:nvSpPr>
          <p:cNvPr id="15378" name="Text Box 359"/>
          <p:cNvSpPr txBox="1">
            <a:spLocks noChangeArrowheads="1"/>
          </p:cNvSpPr>
          <p:nvPr/>
        </p:nvSpPr>
        <p:spPr bwMode="auto">
          <a:xfrm>
            <a:off x="5313363" y="1557338"/>
            <a:ext cx="3776662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적인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3D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라멘트 종류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-ESD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라멘트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전기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방전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SD, Electrostatic discharge)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 최적화된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특수 필라멘트 선정함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명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Z-ESD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조사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Zortrax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社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체적저항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Rv)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규격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04 ohm ~ 109 ohm 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특장점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터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Extruding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열에 수축되는 정도가 작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염분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산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알카리 등 화학물질에 내성 있음</a:t>
            </a: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5379" name="그림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288" y="4806950"/>
            <a:ext cx="1746250" cy="129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8551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그림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975" y="3921125"/>
            <a:ext cx="941388" cy="201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67" t="157" r="4874" b="-157"/>
          <a:stretch>
            <a:fillRect/>
          </a:stretch>
        </p:blipFill>
        <p:spPr bwMode="auto">
          <a:xfrm>
            <a:off x="1065213" y="3933825"/>
            <a:ext cx="215900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그림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3" t="13751" r="5219" b="6471"/>
          <a:stretch>
            <a:fillRect/>
          </a:stretch>
        </p:blipFill>
        <p:spPr bwMode="auto">
          <a:xfrm>
            <a:off x="2411413" y="1700213"/>
            <a:ext cx="1833562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그림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6" t="36841" r="53290" b="2626"/>
          <a:stretch>
            <a:fillRect/>
          </a:stretch>
        </p:blipFill>
        <p:spPr bwMode="auto">
          <a:xfrm>
            <a:off x="1016000" y="1695450"/>
            <a:ext cx="1266825" cy="158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그림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22"/>
          <a:stretch>
            <a:fillRect/>
          </a:stretch>
        </p:blipFill>
        <p:spPr bwMode="auto">
          <a:xfrm>
            <a:off x="6161088" y="3933056"/>
            <a:ext cx="246380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7416" name="그룹 19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17428" name="AutoShape 4"/>
            <p:cNvSpPr>
              <a:spLocks noChangeArrowheads="1"/>
            </p:cNvSpPr>
            <p:nvPr/>
          </p:nvSpPr>
          <p:spPr bwMode="auto">
            <a:xfrm>
              <a:off x="9169400" y="204769"/>
              <a:ext cx="392113" cy="246080"/>
            </a:xfrm>
            <a:prstGeom prst="homePlate">
              <a:avLst>
                <a:gd name="adj" fmla="val 216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429" name="AutoShape 6"/>
            <p:cNvSpPr>
              <a:spLocks noChangeArrowheads="1"/>
            </p:cNvSpPr>
            <p:nvPr/>
          </p:nvSpPr>
          <p:spPr bwMode="auto">
            <a:xfrm>
              <a:off x="8842375" y="142852"/>
              <a:ext cx="392113" cy="246081"/>
            </a:xfrm>
            <a:prstGeom prst="homePlate">
              <a:avLst>
                <a:gd name="adj" fmla="val 21268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430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431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432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" name="Text Box 4"/>
          <p:cNvSpPr txBox="1">
            <a:spLocks noChangeArrowheads="1"/>
          </p:cNvSpPr>
          <p:nvPr/>
        </p:nvSpPr>
        <p:spPr bwMode="auto">
          <a:xfrm>
            <a:off x="57150" y="76200"/>
            <a:ext cx="3152775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파트 출력 및 </a:t>
            </a: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Grinding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작업</a:t>
            </a:r>
          </a:p>
        </p:txBody>
      </p:sp>
      <p:sp>
        <p:nvSpPr>
          <p:cNvPr id="17418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Adapter </a:t>
            </a:r>
            <a:r>
              <a:rPr lang="ko-KR" altLang="en-US" sz="16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출력 및 테스트</a:t>
            </a:r>
            <a:endParaRPr lang="en-US" altLang="ko-KR" sz="16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7419" name="TextBox 30"/>
          <p:cNvSpPr txBox="1">
            <a:spLocks noChangeArrowheads="1"/>
          </p:cNvSpPr>
          <p:nvPr/>
        </p:nvSpPr>
        <p:spPr bwMode="auto">
          <a:xfrm>
            <a:off x="5794375" y="1066800"/>
            <a:ext cx="3151188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14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최종 결과물 출력 및 충전기 적용</a:t>
            </a:r>
            <a:endParaRPr lang="en-US" altLang="ko-KR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22" name="TextBox 35"/>
          <p:cNvSpPr txBox="1">
            <a:spLocks noChangeArrowheads="1"/>
          </p:cNvSpPr>
          <p:nvPr/>
        </p:nvSpPr>
        <p:spPr bwMode="auto">
          <a:xfrm>
            <a:off x="1431925" y="1060450"/>
            <a:ext cx="229076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제품</a:t>
            </a:r>
            <a:r>
              <a:rPr lang="en-US" altLang="ko-KR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력 및 </a:t>
            </a:r>
            <a:r>
              <a:rPr lang="en-US" altLang="ko-KR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rinding </a:t>
            </a: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424" name="Text Box 359"/>
          <p:cNvSpPr txBox="1">
            <a:spLocks noChangeArrowheads="1"/>
          </p:cNvSpPr>
          <p:nvPr/>
        </p:nvSpPr>
        <p:spPr bwMode="auto">
          <a:xfrm>
            <a:off x="1346200" y="3357563"/>
            <a:ext cx="28209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D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터 출력물 확인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라멘트 적층 구조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1000" b="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425" name="Text Box 359"/>
          <p:cNvSpPr txBox="1">
            <a:spLocks noChangeArrowheads="1"/>
          </p:cNvSpPr>
          <p:nvPr/>
        </p:nvSpPr>
        <p:spPr bwMode="auto">
          <a:xfrm>
            <a:off x="5950268" y="3356992"/>
            <a:ext cx="2821940" cy="632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내부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rinding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을 통해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력물에서 발생할 수 있는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chate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isk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거</a:t>
            </a:r>
            <a:endParaRPr lang="en-US" altLang="ko-KR" sz="1000" b="0" u="sng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426" name="Text Box 359"/>
          <p:cNvSpPr txBox="1">
            <a:spLocks noChangeArrowheads="1"/>
          </p:cNvSpPr>
          <p:nvPr/>
        </p:nvSpPr>
        <p:spPr bwMode="auto">
          <a:xfrm>
            <a:off x="6002338" y="5763444"/>
            <a:ext cx="341471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spcBef>
                <a:spcPts val="600"/>
              </a:spcBef>
            </a:pP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D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팅으로 총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의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력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spcBef>
                <a:spcPts val="600"/>
              </a:spcBef>
            </a:pPr>
            <a:r>
              <a:rPr lang="en-US" altLang="ko-KR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dapter </a:t>
            </a:r>
            <a:r>
              <a:rPr lang="ko-KR" altLang="en-US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용 결과</a:t>
            </a:r>
            <a:r>
              <a:rPr lang="en-US" altLang="ko-KR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r>
              <a:rPr lang="ko-KR" altLang="en-US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u="sng" dirty="0" err="1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</a:t>
            </a:r>
            <a:r>
              <a:rPr lang="ko-KR" altLang="en-US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내부 정전기 </a:t>
            </a:r>
            <a:r>
              <a:rPr lang="ko-KR" altLang="en-US" sz="1000" b="0" u="sng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미발생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000" b="0" u="sng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spcBef>
                <a:spcPts val="600"/>
              </a:spcBef>
            </a:pP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안정화 시간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거로 </a:t>
            </a:r>
            <a:r>
              <a:rPr lang="ko-KR" altLang="en-US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 시간 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 </a:t>
            </a:r>
            <a:r>
              <a:rPr lang="en-US" altLang="ko-KR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</a:t>
            </a:r>
            <a:r>
              <a:rPr lang="en-US" altLang="ko-KR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v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u="sng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20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초</a:t>
            </a:r>
            <a:r>
              <a:rPr lang="en-US" altLang="ko-KR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/v</a:t>
            </a:r>
            <a:endParaRPr lang="en-US" altLang="ko-KR" sz="1000" b="0" u="sng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427" name="Text Box 359"/>
          <p:cNvSpPr txBox="1">
            <a:spLocks noChangeArrowheads="1"/>
          </p:cNvSpPr>
          <p:nvPr/>
        </p:nvSpPr>
        <p:spPr bwMode="auto">
          <a:xfrm>
            <a:off x="1346200" y="5961063"/>
            <a:ext cx="28209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</a:pPr>
            <a:r>
              <a:rPr lang="ko-KR" altLang="en-US" sz="10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총 </a:t>
            </a:r>
            <a:r>
              <a:rPr lang="en-US" altLang="ko-KR" sz="10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r>
              <a:rPr lang="ko-KR" altLang="en-US" sz="10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지 사이즈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샘플 출력 후 최적 사이즈 선정함</a:t>
            </a:r>
            <a:endParaRPr lang="en-US" altLang="ko-KR" sz="1000" b="0" u="sng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6820" y="1695450"/>
            <a:ext cx="2852335" cy="1604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84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9459" name="그룹 65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19478" name="AutoShape 4"/>
            <p:cNvSpPr>
              <a:spLocks noChangeArrowheads="1"/>
            </p:cNvSpPr>
            <p:nvPr/>
          </p:nvSpPr>
          <p:spPr bwMode="auto">
            <a:xfrm>
              <a:off x="9169400" y="142852"/>
              <a:ext cx="392113" cy="246081"/>
            </a:xfrm>
            <a:prstGeom prst="homePlate">
              <a:avLst>
                <a:gd name="adj" fmla="val 2164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479" name="AutoShape 6"/>
            <p:cNvSpPr>
              <a:spLocks noChangeArrowheads="1"/>
            </p:cNvSpPr>
            <p:nvPr/>
          </p:nvSpPr>
          <p:spPr bwMode="auto">
            <a:xfrm>
              <a:off x="8842375" y="214295"/>
              <a:ext cx="392113" cy="246080"/>
            </a:xfrm>
            <a:prstGeom prst="homePlate">
              <a:avLst>
                <a:gd name="adj" fmla="val 21268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480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481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482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917575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과</a:t>
            </a:r>
          </a:p>
        </p:txBody>
      </p:sp>
      <p:sp>
        <p:nvSpPr>
          <p:cNvPr id="19461" name="TextBox 30"/>
          <p:cNvSpPr txBox="1">
            <a:spLocks noChangeArrowheads="1"/>
          </p:cNvSpPr>
          <p:nvPr/>
        </p:nvSpPr>
        <p:spPr bwMode="auto">
          <a:xfrm>
            <a:off x="6781800" y="1066800"/>
            <a:ext cx="1016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성적 성과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9" name="직선 연결선 58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4" name="TextBox 35"/>
          <p:cNvSpPr txBox="1">
            <a:spLocks noChangeArrowheads="1"/>
          </p:cNvSpPr>
          <p:nvPr/>
        </p:nvSpPr>
        <p:spPr bwMode="auto">
          <a:xfrm>
            <a:off x="2068513" y="1060450"/>
            <a:ext cx="101758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량적 성과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465" name="Text Box 6"/>
          <p:cNvSpPr txBox="1">
            <a:spLocks noChangeArrowheads="1"/>
          </p:cNvSpPr>
          <p:nvPr/>
        </p:nvSpPr>
        <p:spPr bwMode="auto">
          <a:xfrm>
            <a:off x="560388" y="598488"/>
            <a:ext cx="4378325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충전기 잠재 이슈</a:t>
            </a:r>
            <a:r>
              <a:rPr lang="en-US" altLang="ko-KR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해결로 생산기간 </a:t>
            </a:r>
            <a:r>
              <a:rPr lang="en-US" altLang="ko-KR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0% </a:t>
            </a:r>
            <a:r>
              <a:rPr lang="ko-KR" altLang="en-US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단축</a:t>
            </a:r>
            <a:endParaRPr lang="en-US" altLang="ko-KR" sz="18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9466" name="Text Box 359"/>
          <p:cNvSpPr txBox="1">
            <a:spLocks noChangeArrowheads="1"/>
          </p:cNvSpPr>
          <p:nvPr/>
        </p:nvSpPr>
        <p:spPr bwMode="auto">
          <a:xfrm>
            <a:off x="920750" y="1557338"/>
            <a:ext cx="3744913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 공수 최소화 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u="sng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건비 </a:t>
            </a:r>
            <a:r>
              <a:rPr lang="en-US" altLang="ko-KR" sz="1000" b="0" u="sng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60</a:t>
            </a:r>
            <a:r>
              <a:rPr lang="ko-KR" altLang="en-US" sz="1000" b="0" u="sng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원 절감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인건비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84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 (1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h x 8h x 20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+ OT 32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x 2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 인건비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24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h x 8h x 14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x 2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목표치인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%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초과하여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%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함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율 증대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MP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장에서 개선된 충전기로 임상샘플 생산 완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de Effect (95%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의 수율 달성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까지 확인함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b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–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제조단위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80v 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최종수율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961v (96.1%)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  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조단위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3080v</a:t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최종수율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3037v (98.6%)</a:t>
            </a:r>
          </a:p>
        </p:txBody>
      </p:sp>
      <p:sp>
        <p:nvSpPr>
          <p:cNvPr id="19467" name="Text Box 359"/>
          <p:cNvSpPr txBox="1">
            <a:spLocks noChangeArrowheads="1"/>
          </p:cNvSpPr>
          <p:nvPr/>
        </p:nvSpPr>
        <p:spPr bwMode="auto">
          <a:xfrm>
            <a:off x="5600700" y="1557338"/>
            <a:ext cx="3776663" cy="338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D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팅 후속 과제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장 이슈에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D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팅을 적용한 첫 번째 사례로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D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린팅을 활용한 후속 과제를 기대해볼 수 있음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무균 리스크 최소화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 시간이 증대되면 무균 리스크는 높아지는데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 시간을 최소화하고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자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tervention 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방지하여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당 임상 샘플의 무균 리스크를 최소화함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코로나 확산 리스크 최소화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일자 단축을 통해 외부 작업원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용직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2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이 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익산공장 상업 생산 라인에 출입할 때의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코로나 확산 잠재 리스크를 최소화함</a:t>
            </a: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468" name="Text Box 372"/>
          <p:cNvSpPr txBox="1">
            <a:spLocks noChangeArrowheads="1"/>
          </p:cNvSpPr>
          <p:nvPr/>
        </p:nvSpPr>
        <p:spPr bwMode="auto">
          <a:xfrm>
            <a:off x="3224213" y="4672013"/>
            <a:ext cx="628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 수준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Line 375"/>
          <p:cNvSpPr>
            <a:spLocks noChangeShapeType="1"/>
          </p:cNvSpPr>
          <p:nvPr/>
        </p:nvSpPr>
        <p:spPr bwMode="auto">
          <a:xfrm>
            <a:off x="3279775" y="4657725"/>
            <a:ext cx="1289050" cy="1588"/>
          </a:xfrm>
          <a:prstGeom prst="line">
            <a:avLst/>
          </a:prstGeom>
          <a:noFill/>
          <a:ln w="38100">
            <a:solidFill>
              <a:sysClr val="window" lastClr="FFFFFF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" name="Rectangle 370"/>
          <p:cNvSpPr>
            <a:spLocks noChangeArrowheads="1"/>
          </p:cNvSpPr>
          <p:nvPr/>
        </p:nvSpPr>
        <p:spPr bwMode="auto">
          <a:xfrm>
            <a:off x="3311525" y="3522663"/>
            <a:ext cx="447675" cy="112871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8" name="Rectangle 371"/>
          <p:cNvSpPr>
            <a:spLocks noChangeArrowheads="1"/>
          </p:cNvSpPr>
          <p:nvPr/>
        </p:nvSpPr>
        <p:spPr bwMode="auto">
          <a:xfrm>
            <a:off x="4065588" y="3754438"/>
            <a:ext cx="447675" cy="90011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0" name="Line 38"/>
          <p:cNvSpPr>
            <a:spLocks noChangeShapeType="1"/>
          </p:cNvSpPr>
          <p:nvPr/>
        </p:nvSpPr>
        <p:spPr bwMode="auto">
          <a:xfrm flipV="1">
            <a:off x="3282950" y="4664075"/>
            <a:ext cx="1262063" cy="0"/>
          </a:xfrm>
          <a:prstGeom prst="line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473" name="Text Box 372"/>
          <p:cNvSpPr txBox="1">
            <a:spLocks noChangeArrowheads="1"/>
          </p:cNvSpPr>
          <p:nvPr/>
        </p:nvSpPr>
        <p:spPr bwMode="auto">
          <a:xfrm>
            <a:off x="3984625" y="4681538"/>
            <a:ext cx="628650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Freeform 379"/>
          <p:cNvSpPr>
            <a:spLocks noChangeAspect="1"/>
          </p:cNvSpPr>
          <p:nvPr/>
        </p:nvSpPr>
        <p:spPr bwMode="auto">
          <a:xfrm rot="4122523">
            <a:off x="3775869" y="3442494"/>
            <a:ext cx="377825" cy="249237"/>
          </a:xfrm>
          <a:custGeom>
            <a:avLst/>
            <a:gdLst>
              <a:gd name="T0" fmla="*/ 2147483647 w 1006"/>
              <a:gd name="T1" fmla="*/ 2147483647 h 1032"/>
              <a:gd name="T2" fmla="*/ 2147483647 w 1006"/>
              <a:gd name="T3" fmla="*/ 0 h 1032"/>
              <a:gd name="T4" fmla="*/ 2147483647 w 1006"/>
              <a:gd name="T5" fmla="*/ 2147483647 h 1032"/>
              <a:gd name="T6" fmla="*/ 2147483647 w 1006"/>
              <a:gd name="T7" fmla="*/ 2147483647 h 1032"/>
              <a:gd name="T8" fmla="*/ 2147483647 w 1006"/>
              <a:gd name="T9" fmla="*/ 2147483647 h 1032"/>
              <a:gd name="T10" fmla="*/ 2147483647 w 1006"/>
              <a:gd name="T11" fmla="*/ 2147483647 h 1032"/>
              <a:gd name="T12" fmla="*/ 2147483647 w 1006"/>
              <a:gd name="T13" fmla="*/ 2147483647 h 1032"/>
              <a:gd name="T14" fmla="*/ 2147483647 w 1006"/>
              <a:gd name="T15" fmla="*/ 2147483647 h 1032"/>
              <a:gd name="T16" fmla="*/ 2147483647 w 1006"/>
              <a:gd name="T17" fmla="*/ 2147483647 h 1032"/>
              <a:gd name="T18" fmla="*/ 2147483647 w 1006"/>
              <a:gd name="T19" fmla="*/ 2147483647 h 1032"/>
              <a:gd name="T20" fmla="*/ 2147483647 w 1006"/>
              <a:gd name="T21" fmla="*/ 2147483647 h 1032"/>
              <a:gd name="T22" fmla="*/ 2147483647 w 1006"/>
              <a:gd name="T23" fmla="*/ 2147483647 h 1032"/>
              <a:gd name="T24" fmla="*/ 2147483647 w 1006"/>
              <a:gd name="T25" fmla="*/ 2147483647 h 1032"/>
              <a:gd name="T26" fmla="*/ 2147483647 w 1006"/>
              <a:gd name="T27" fmla="*/ 2147483647 h 1032"/>
              <a:gd name="T28" fmla="*/ 2147483647 w 1006"/>
              <a:gd name="T29" fmla="*/ 2147483647 h 1032"/>
              <a:gd name="T30" fmla="*/ 2147483647 w 1006"/>
              <a:gd name="T31" fmla="*/ 2147483647 h 1032"/>
              <a:gd name="T32" fmla="*/ 2147483647 w 1006"/>
              <a:gd name="T33" fmla="*/ 2147483647 h 1032"/>
              <a:gd name="T34" fmla="*/ 0 w 1006"/>
              <a:gd name="T35" fmla="*/ 2147483647 h 1032"/>
              <a:gd name="T36" fmla="*/ 2147483647 w 1006"/>
              <a:gd name="T37" fmla="*/ 2147483647 h 1032"/>
              <a:gd name="T38" fmla="*/ 2147483647 w 1006"/>
              <a:gd name="T39" fmla="*/ 2147483647 h 1032"/>
              <a:gd name="T40" fmla="*/ 2147483647 w 1006"/>
              <a:gd name="T41" fmla="*/ 2147483647 h 1032"/>
              <a:gd name="T42" fmla="*/ 2147483647 w 1006"/>
              <a:gd name="T43" fmla="*/ 2147483647 h 1032"/>
              <a:gd name="T44" fmla="*/ 2147483647 w 1006"/>
              <a:gd name="T45" fmla="*/ 2147483647 h 1032"/>
              <a:gd name="T46" fmla="*/ 2147483647 w 1006"/>
              <a:gd name="T47" fmla="*/ 2147483647 h 1032"/>
              <a:gd name="T48" fmla="*/ 2147483647 w 1006"/>
              <a:gd name="T49" fmla="*/ 2147483647 h 1032"/>
              <a:gd name="T50" fmla="*/ 2147483647 w 1006"/>
              <a:gd name="T51" fmla="*/ 2147483647 h 1032"/>
              <a:gd name="T52" fmla="*/ 2147483647 w 1006"/>
              <a:gd name="T53" fmla="*/ 2147483647 h 1032"/>
              <a:gd name="T54" fmla="*/ 2147483647 w 1006"/>
              <a:gd name="T55" fmla="*/ 2147483647 h 1032"/>
              <a:gd name="T56" fmla="*/ 2147483647 w 1006"/>
              <a:gd name="T57" fmla="*/ 2147483647 h 1032"/>
              <a:gd name="T58" fmla="*/ 2147483647 w 1006"/>
              <a:gd name="T59" fmla="*/ 2147483647 h 1032"/>
              <a:gd name="T60" fmla="*/ 2147483647 w 1006"/>
              <a:gd name="T61" fmla="*/ 2147483647 h 1032"/>
              <a:gd name="T62" fmla="*/ 2147483647 w 1006"/>
              <a:gd name="T63" fmla="*/ 2147483647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6"/>
              <a:gd name="T97" fmla="*/ 0 h 1032"/>
              <a:gd name="T98" fmla="*/ 1006 w 1006"/>
              <a:gd name="T99" fmla="*/ 1032 h 103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6" h="1032">
                <a:moveTo>
                  <a:pt x="824" y="289"/>
                </a:moveTo>
                <a:lnTo>
                  <a:pt x="824" y="350"/>
                </a:lnTo>
                <a:lnTo>
                  <a:pt x="1005" y="194"/>
                </a:lnTo>
                <a:lnTo>
                  <a:pt x="841" y="0"/>
                </a:lnTo>
                <a:lnTo>
                  <a:pt x="837" y="62"/>
                </a:lnTo>
                <a:lnTo>
                  <a:pt x="803" y="53"/>
                </a:lnTo>
                <a:lnTo>
                  <a:pt x="765" y="56"/>
                </a:lnTo>
                <a:lnTo>
                  <a:pt x="735" y="62"/>
                </a:lnTo>
                <a:lnTo>
                  <a:pt x="705" y="65"/>
                </a:lnTo>
                <a:lnTo>
                  <a:pt x="670" y="70"/>
                </a:lnTo>
                <a:lnTo>
                  <a:pt x="634" y="80"/>
                </a:lnTo>
                <a:lnTo>
                  <a:pt x="597" y="93"/>
                </a:lnTo>
                <a:lnTo>
                  <a:pt x="568" y="103"/>
                </a:lnTo>
                <a:lnTo>
                  <a:pt x="533" y="118"/>
                </a:lnTo>
                <a:lnTo>
                  <a:pt x="498" y="133"/>
                </a:lnTo>
                <a:lnTo>
                  <a:pt x="474" y="151"/>
                </a:lnTo>
                <a:lnTo>
                  <a:pt x="444" y="166"/>
                </a:lnTo>
                <a:lnTo>
                  <a:pt x="417" y="188"/>
                </a:lnTo>
                <a:lnTo>
                  <a:pt x="386" y="216"/>
                </a:lnTo>
                <a:lnTo>
                  <a:pt x="355" y="243"/>
                </a:lnTo>
                <a:lnTo>
                  <a:pt x="318" y="286"/>
                </a:lnTo>
                <a:lnTo>
                  <a:pt x="281" y="328"/>
                </a:lnTo>
                <a:lnTo>
                  <a:pt x="250" y="367"/>
                </a:lnTo>
                <a:lnTo>
                  <a:pt x="224" y="404"/>
                </a:lnTo>
                <a:lnTo>
                  <a:pt x="198" y="438"/>
                </a:lnTo>
                <a:lnTo>
                  <a:pt x="177" y="476"/>
                </a:lnTo>
                <a:lnTo>
                  <a:pt x="152" y="521"/>
                </a:lnTo>
                <a:lnTo>
                  <a:pt x="133" y="562"/>
                </a:lnTo>
                <a:lnTo>
                  <a:pt x="109" y="615"/>
                </a:lnTo>
                <a:lnTo>
                  <a:pt x="87" y="672"/>
                </a:lnTo>
                <a:lnTo>
                  <a:pt x="72" y="718"/>
                </a:lnTo>
                <a:lnTo>
                  <a:pt x="51" y="779"/>
                </a:lnTo>
                <a:lnTo>
                  <a:pt x="38" y="820"/>
                </a:lnTo>
                <a:lnTo>
                  <a:pt x="31" y="858"/>
                </a:lnTo>
                <a:lnTo>
                  <a:pt x="17" y="919"/>
                </a:lnTo>
                <a:lnTo>
                  <a:pt x="0" y="1031"/>
                </a:lnTo>
                <a:lnTo>
                  <a:pt x="35" y="903"/>
                </a:lnTo>
                <a:lnTo>
                  <a:pt x="54" y="851"/>
                </a:lnTo>
                <a:lnTo>
                  <a:pt x="69" y="799"/>
                </a:lnTo>
                <a:lnTo>
                  <a:pt x="88" y="754"/>
                </a:lnTo>
                <a:lnTo>
                  <a:pt x="111" y="714"/>
                </a:lnTo>
                <a:lnTo>
                  <a:pt x="132" y="672"/>
                </a:lnTo>
                <a:lnTo>
                  <a:pt x="155" y="632"/>
                </a:lnTo>
                <a:lnTo>
                  <a:pt x="176" y="598"/>
                </a:lnTo>
                <a:lnTo>
                  <a:pt x="201" y="567"/>
                </a:lnTo>
                <a:lnTo>
                  <a:pt x="226" y="534"/>
                </a:lnTo>
                <a:lnTo>
                  <a:pt x="253" y="508"/>
                </a:lnTo>
                <a:lnTo>
                  <a:pt x="272" y="485"/>
                </a:lnTo>
                <a:lnTo>
                  <a:pt x="302" y="462"/>
                </a:lnTo>
                <a:lnTo>
                  <a:pt x="333" y="433"/>
                </a:lnTo>
                <a:lnTo>
                  <a:pt x="361" y="414"/>
                </a:lnTo>
                <a:lnTo>
                  <a:pt x="390" y="395"/>
                </a:lnTo>
                <a:lnTo>
                  <a:pt x="425" y="370"/>
                </a:lnTo>
                <a:lnTo>
                  <a:pt x="466" y="351"/>
                </a:lnTo>
                <a:lnTo>
                  <a:pt x="502" y="335"/>
                </a:lnTo>
                <a:lnTo>
                  <a:pt x="536" y="323"/>
                </a:lnTo>
                <a:lnTo>
                  <a:pt x="573" y="308"/>
                </a:lnTo>
                <a:lnTo>
                  <a:pt x="604" y="300"/>
                </a:lnTo>
                <a:lnTo>
                  <a:pt x="635" y="295"/>
                </a:lnTo>
                <a:lnTo>
                  <a:pt x="675" y="288"/>
                </a:lnTo>
                <a:lnTo>
                  <a:pt x="704" y="282"/>
                </a:lnTo>
                <a:lnTo>
                  <a:pt x="745" y="280"/>
                </a:lnTo>
                <a:lnTo>
                  <a:pt x="778" y="280"/>
                </a:lnTo>
                <a:lnTo>
                  <a:pt x="824" y="289"/>
                </a:lnTo>
              </a:path>
            </a:pathLst>
          </a:custGeom>
          <a:solidFill>
            <a:srgbClr val="C0504D"/>
          </a:solidFill>
          <a:ln w="19050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475" name="Text Box 372"/>
          <p:cNvSpPr txBox="1">
            <a:spLocks noChangeArrowheads="1"/>
          </p:cNvSpPr>
          <p:nvPr/>
        </p:nvSpPr>
        <p:spPr bwMode="auto">
          <a:xfrm>
            <a:off x="3228975" y="3943350"/>
            <a:ext cx="6286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476" name="Text Box 372"/>
          <p:cNvSpPr txBox="1">
            <a:spLocks noChangeArrowheads="1"/>
          </p:cNvSpPr>
          <p:nvPr/>
        </p:nvSpPr>
        <p:spPr bwMode="auto">
          <a:xfrm>
            <a:off x="3979863" y="3943350"/>
            <a:ext cx="6286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4</a:t>
            </a:r>
            <a:r>
              <a:rPr lang="ko-KR" altLang="en-US" sz="10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en-US" altLang="ko-KR" sz="10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477" name="Text Box 372"/>
          <p:cNvSpPr txBox="1">
            <a:spLocks noChangeArrowheads="1"/>
          </p:cNvSpPr>
          <p:nvPr/>
        </p:nvSpPr>
        <p:spPr bwMode="auto">
          <a:xfrm>
            <a:off x="3841750" y="3068638"/>
            <a:ext cx="909638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30%)</a:t>
            </a:r>
            <a:br>
              <a:rPr lang="en-US" altLang="ko-KR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</a:t>
            </a:r>
            <a:endParaRPr lang="en-US" altLang="ko-KR" sz="1000" b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3321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400" y="1190625"/>
            <a:ext cx="75692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7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1508" name="그룹 65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21515" name="AutoShape 4"/>
            <p:cNvSpPr>
              <a:spLocks noChangeArrowheads="1"/>
            </p:cNvSpPr>
            <p:nvPr/>
          </p:nvSpPr>
          <p:spPr bwMode="auto">
            <a:xfrm>
              <a:off x="9169400" y="142852"/>
              <a:ext cx="392113" cy="246081"/>
            </a:xfrm>
            <a:prstGeom prst="homePlate">
              <a:avLst>
                <a:gd name="adj" fmla="val 2164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516" name="AutoShape 6"/>
            <p:cNvSpPr>
              <a:spLocks noChangeArrowheads="1"/>
            </p:cNvSpPr>
            <p:nvPr/>
          </p:nvSpPr>
          <p:spPr bwMode="auto">
            <a:xfrm>
              <a:off x="8842375" y="214295"/>
              <a:ext cx="392113" cy="246080"/>
            </a:xfrm>
            <a:prstGeom prst="homePlate">
              <a:avLst>
                <a:gd name="adj" fmla="val 21268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517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518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519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633413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별첨</a:t>
            </a:r>
          </a:p>
        </p:txBody>
      </p:sp>
      <p:sp>
        <p:nvSpPr>
          <p:cNvPr id="21510" name="Text Box 6"/>
          <p:cNvSpPr txBox="1">
            <a:spLocks noChangeArrowheads="1"/>
          </p:cNvSpPr>
          <p:nvPr/>
        </p:nvSpPr>
        <p:spPr bwMode="auto">
          <a:xfrm>
            <a:off x="560388" y="598488"/>
            <a:ext cx="1724025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8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일용직 시급 확인</a:t>
            </a:r>
            <a:endParaRPr lang="en-US" altLang="ko-KR" sz="18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1511" name="그림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788" y="3895725"/>
            <a:ext cx="2592387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2" name="그림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400" y="4689475"/>
            <a:ext cx="51831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직사각형 20"/>
          <p:cNvSpPr/>
          <p:nvPr/>
        </p:nvSpPr>
        <p:spPr>
          <a:xfrm>
            <a:off x="5365750" y="3275013"/>
            <a:ext cx="773113" cy="201612"/>
          </a:xfrm>
          <a:prstGeom prst="rect">
            <a:avLst/>
          </a:prstGeom>
          <a:noFill/>
          <a:ln w="63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/>
          </a:p>
        </p:txBody>
      </p:sp>
      <p:pic>
        <p:nvPicPr>
          <p:cNvPr id="21514" name="그림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400" y="4106863"/>
            <a:ext cx="131445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7529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DfcswvrkGAb_dPVNvr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l_yVTibkebre_mBjw7RQ"/>
</p:tagLst>
</file>

<file path=ppt/theme/theme1.xml><?xml version="1.0" encoding="utf-8"?>
<a:theme xmlns:a="http://schemas.openxmlformats.org/drawingml/2006/main" name="3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HY울릉도B"/>
        <a:ea typeface="HY울릉도B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16</TotalTime>
  <Words>1577</Words>
  <Application>Microsoft Office PowerPoint</Application>
  <PresentationFormat>A4 용지(210x297mm)</PresentationFormat>
  <Paragraphs>158</Paragraphs>
  <Slides>9</Slides>
  <Notes>8</Notes>
  <HiddenSlides>0</HiddenSlides>
  <MMClips>0</MMClips>
  <ScaleCrop>false</ScaleCrop>
  <HeadingPairs>
    <vt:vector size="6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21" baseType="lpstr">
      <vt:lpstr>LG스마트체 Regular</vt:lpstr>
      <vt:lpstr>굴림</vt:lpstr>
      <vt:lpstr>돋움</vt:lpstr>
      <vt:lpstr>맑은 고딕</vt:lpstr>
      <vt:lpstr>Arial</vt:lpstr>
      <vt:lpstr>Arial Narrow</vt:lpstr>
      <vt:lpstr>HY울릉도B</vt:lpstr>
      <vt:lpstr>Open Sans</vt:lpstr>
      <vt:lpstr>Symbol</vt:lpstr>
      <vt:lpstr>Wingdings</vt:lpstr>
      <vt:lpstr>나눔고딕</vt:lpstr>
      <vt:lpstr>3_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</dc:creator>
  <cp:lastModifiedBy>황의영(Hwang, Eui-yeong)[heuiy]</cp:lastModifiedBy>
  <cp:revision>2126</cp:revision>
  <cp:lastPrinted>2020-02-10T05:25:54Z</cp:lastPrinted>
  <dcterms:created xsi:type="dcterms:W3CDTF">2008-11-26T05:44:28Z</dcterms:created>
  <dcterms:modified xsi:type="dcterms:W3CDTF">2020-09-14T06:08:09Z</dcterms:modified>
</cp:coreProperties>
</file>